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3"/>
  </p:sldMasterIdLst>
  <p:notesMasterIdLst>
    <p:notesMasterId r:id="rId6"/>
  </p:notesMasterIdLst>
  <p:sldIdLst>
    <p:sldId id="414" r:id="rId4"/>
    <p:sldId id="415" r:id="rId5"/>
  </p:sldIdLst>
  <p:sldSz cx="12192000" cy="6858000"/>
  <p:notesSz cx="6797675" cy="9926638"/>
  <p:custDataLst>
    <p:tags r:id="rId7"/>
  </p:custDataLst>
  <p:defaultTextStyle>
    <a:defPPr>
      <a:defRPr lang="en-US"/>
    </a:defPPr>
    <a:lvl1pPr marL="177800" indent="-177800" algn="l" defTabSz="711200" rtl="0" eaLnBrk="1" latinLnBrk="0" hangingPunct="1">
      <a:spcBef>
        <a:spcPts val="1200"/>
      </a:spcBef>
      <a:buChar char="•"/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355600" indent="-177800" algn="l" defTabSz="711200" rtl="0" eaLnBrk="1" latinLnBrk="0" hangingPunct="1">
      <a:spcBef>
        <a:spcPts val="600"/>
      </a:spcBef>
      <a:buChar char="–"/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533400" indent="-177800" algn="l" defTabSz="711200" rtl="0" eaLnBrk="1" latinLnBrk="0" hangingPunct="1">
      <a:spcBef>
        <a:spcPts val="600"/>
      </a:spcBef>
      <a:buChar char="&gt;"/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711200" indent="-177800" algn="l" defTabSz="711200" rtl="0" eaLnBrk="1" latinLnBrk="0" hangingPunct="1">
      <a:spcBef>
        <a:spcPts val="600"/>
      </a:spcBef>
      <a:buChar char="–"/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889000" indent="-177800" algn="l" defTabSz="711200" rtl="0" eaLnBrk="1" latinLnBrk="0" hangingPunct="1">
      <a:spcBef>
        <a:spcPts val="600"/>
      </a:spcBef>
      <a:buChar char="&gt;"/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10668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12446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14224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16002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5C5C5C"/>
    <a:srgbClr val="FAEEC3"/>
    <a:srgbClr val="F2DE8A"/>
    <a:srgbClr val="E9CD49"/>
    <a:srgbClr val="C6AA3D"/>
    <a:srgbClr val="AB8933"/>
    <a:srgbClr val="FAECDB"/>
    <a:srgbClr val="EDDABD"/>
    <a:srgbClr val="CFB79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2D5ABB26-0587-4C30-8999-92F81FD0307C}">
  <a:tblStyle styleId="{9D7B26C5-4107-4FEC-AEDC-1716B250A1EF}" styleName="Light Style 1">
    <a:wholeTbl>
      <a:tcTxStyle>
        <a:fontRef idx="min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9525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>
              <a:noFill/>
            </a:ln>
          </a:top>
          <a:bottom>
            <a:ln>
              <a:noFill/>
            </a:ln>
          </a:bottom>
        </a:tcBdr>
        <a:fill>
          <a:solidFill>
            <a:schemeClr val="dk2"/>
          </a:solidFill>
        </a:fill>
      </a:tcStyle>
    </a:band1H>
    <a:band2H>
      <a:tcStyle>
        <a:tcBdr/>
      </a:tcStyle>
    </a:band2H>
    <a:band1V>
      <a:tcStyle>
        <a:tcBdr/>
      </a:tcStyle>
    </a:band1V>
    <a:band2V>
      <a:tcStyle>
        <a:tcBdr/>
      </a:tcStyle>
    </a:band2V>
    <a:firstCol>
      <a:tcTxStyle b="on"/>
      <a:tcStyle>
        <a:tcBdr/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1905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accent3"/>
      </a:tcTxStyle>
      <a:tcStyle>
        <a:tcBdr>
          <a:bottom>
            <a:ln w="19050" cmpd="sng">
              <a:solidFill>
                <a:schemeClr val="dk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8" autoAdjust="0"/>
    <p:restoredTop sz="96552" autoAdjust="0"/>
  </p:normalViewPr>
  <p:slideViewPr>
    <p:cSldViewPr snapToGrid="0">
      <p:cViewPr varScale="1">
        <p:scale>
          <a:sx n="81" d="100"/>
          <a:sy n="81" d="100"/>
        </p:scale>
        <p:origin x="77" y="403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Master" Target="slideMasters/slideMaster1.xml"/><Relationship Id="rId7" Type="http://schemas.openxmlformats.org/officeDocument/2006/relationships/tags" Target="tags/tag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2.xml"/><Relationship Id="rId10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94E217-EBA8-47B9-AAD9-E20600F785EB}" type="datetimeFigureOut">
              <a:rPr lang="en-US" smtClean="0"/>
              <a:t>6/13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3BF9725-977F-4C30-956D-51554F49DAE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51380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C07FC2-8C75-4E97-BF0B-98BA580370EE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158438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C07FC2-8C75-4E97-BF0B-98BA580370EE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312204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ain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7037" y="4998212"/>
            <a:ext cx="3240000" cy="405000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334963" y="5077602"/>
            <a:ext cx="884858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indent="0">
              <a:buNone/>
            </a:pPr>
            <a:r>
              <a:rPr lang="en-US" sz="1600" b="1" cap="all" spc="300" baseline="0" dirty="0">
                <a:solidFill>
                  <a:schemeClr val="tx1"/>
                </a:solidFill>
              </a:rPr>
              <a:t>Draft</a:t>
            </a:r>
          </a:p>
        </p:txBody>
      </p:sp>
      <p:cxnSp>
        <p:nvCxnSpPr>
          <p:cNvPr id="5" name="SeparatorLine"/>
          <p:cNvCxnSpPr/>
          <p:nvPr userDrawn="1"/>
        </p:nvCxnSpPr>
        <p:spPr>
          <a:xfrm>
            <a:off x="0" y="4873803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lientLogo"/>
          <p:cNvSpPr>
            <a:spLocks noGrp="1"/>
          </p:cNvSpPr>
          <p:nvPr>
            <p:ph type="pic" sz="quarter" idx="10"/>
          </p:nvPr>
        </p:nvSpPr>
        <p:spPr>
          <a:xfrm>
            <a:off x="8617039" y="3364443"/>
            <a:ext cx="3239999" cy="139964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pic>
        <p:nvPicPr>
          <p:cNvPr id="8" name="Disclaimer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5468" y="6547288"/>
            <a:ext cx="6407451" cy="274344"/>
          </a:xfrm>
          <a:prstGeom prst="rect">
            <a:avLst/>
          </a:prstGeom>
        </p:spPr>
      </p:pic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334965" y="2420938"/>
            <a:ext cx="11522075" cy="90000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add subtitle/contacts/date</a:t>
            </a: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>
          <a:xfrm>
            <a:off x="334964" y="1268413"/>
            <a:ext cx="11522075" cy="900112"/>
          </a:xfrm>
        </p:spPr>
        <p:txBody>
          <a:bodyPr anchor="b"/>
          <a:lstStyle>
            <a:lvl1pPr algn="l">
              <a:spcBef>
                <a:spcPts val="0"/>
              </a:spcBef>
              <a:defRPr sz="26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012046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42924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Pag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Bain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7037" y="4998212"/>
            <a:ext cx="3240000" cy="405000"/>
          </a:xfrm>
          <a:prstGeom prst="rect">
            <a:avLst/>
          </a:prstGeom>
        </p:spPr>
      </p:pic>
      <p:cxnSp>
        <p:nvCxnSpPr>
          <p:cNvPr id="39" name="SeparatorLine"/>
          <p:cNvCxnSpPr/>
          <p:nvPr userDrawn="1"/>
        </p:nvCxnSpPr>
        <p:spPr>
          <a:xfrm>
            <a:off x="0" y="5481638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8732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53" userDrawn="1">
          <p15:clr>
            <a:srgbClr val="A4A3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634442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9949F73F-40C4-459A-87F2-5B4A916D8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439456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606" imgH="608" progId="TCLayout.ActiveDocument.1">
                  <p:embed/>
                </p:oleObj>
              </mc:Choice>
              <mc:Fallback>
                <p:oleObj name="think-cell Slide" r:id="rId7" imgW="606" imgH="60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949F73F-40C4-459A-87F2-5B4A916D8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tfpConfiguration" hidden="1"/>
          <p:cNvSpPr txBox="1"/>
          <p:nvPr userDrawn="1"/>
        </p:nvSpPr>
        <p:spPr bwMode="hidden">
          <a:xfrm>
            <a:off x="0" y="0"/>
            <a:ext cx="36000" cy="360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indent="0">
              <a:buNone/>
            </a:pPr>
            <a:r>
              <a:rPr lang="en-US" sz="100">
                <a:solidFill>
                  <a:schemeClr val="bg1">
                    <a:alpha val="0"/>
                  </a:schemeClr>
                </a:solidFill>
              </a:rPr>
              <a:t>&lt;BTFP&gt;&lt;!-- BTFPCONFIGURATION:3C627466703E0D0A20203C74656D706C6174652076657273696F6E3D22322E342E302220747970653D226272616E64656422207061676553697A653D227769646573637265656E22202F3E0D0A20203C4775696465733E0D0A202020203C4C656674477569646520786D6C6E733D22323622202F3E0D0A202020203C5269676874477569646520786D6C6E733D2239333422202F3E0D0A202020203C5570706572537469636B6572477569646520786D6C6E733D22363922202F3E0D0A202020203C4C6F776572537469636B6572477569646520786D6C6E733D2231303022202F3E0D0A202020203C426F74746F6D477569646520786D6C6E733D2235313722202F3E0D0A20203C2F4775696465733E0D0A3C2F627466703E --&gt;&lt;/BTFP&gt;</a:t>
            </a:r>
            <a:endParaRPr lang="en-US" sz="100" dirty="0">
              <a:solidFill>
                <a:schemeClr val="bg1">
                  <a:alpha val="0"/>
                </a:schemeClr>
              </a:solidFill>
            </a:endParaRPr>
          </a:p>
        </p:txBody>
      </p:sp>
      <p:sp>
        <p:nvSpPr>
          <p:cNvPr id="19" name="SlideNumber"/>
          <p:cNvSpPr/>
          <p:nvPr userDrawn="1"/>
        </p:nvSpPr>
        <p:spPr bwMode="gray">
          <a:xfrm>
            <a:off x="11715975" y="6649694"/>
            <a:ext cx="141064" cy="138499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spAutoFit/>
          </a:bodyPr>
          <a:lstStyle/>
          <a:p>
            <a:pPr marL="0" indent="0" algn="r" defTabSz="711200" rtl="0" eaLnBrk="1" latinLnBrk="0" hangingPunct="1">
              <a:spcBef>
                <a:spcPts val="1200"/>
              </a:spcBef>
              <a:buNone/>
            </a:pPr>
            <a:fld id="{BB69BBE8-4DB2-4642-B003-B220ACD5A2FD}" type="slidenum">
              <a:rPr lang="en-US" sz="900" b="0" baseline="0" smtClean="0">
                <a:solidFill>
                  <a:schemeClr val="bg2"/>
                </a:solidFill>
                <a:latin typeface="+mn-lt"/>
              </a:rPr>
              <a:pPr marL="0" indent="0" algn="r" defTabSz="711200" rtl="0" eaLnBrk="1" latinLnBrk="0" hangingPunct="1">
                <a:spcBef>
                  <a:spcPts val="1200"/>
                </a:spcBef>
                <a:buNone/>
              </a:pPr>
              <a:t>‹#›</a:t>
            </a:fld>
            <a:endParaRPr lang="en-US" sz="900" b="0" dirty="0">
              <a:solidFill>
                <a:schemeClr val="bg2"/>
              </a:solidFill>
              <a:latin typeface="+mn-lt"/>
            </a:endParaRPr>
          </a:p>
        </p:txBody>
      </p:sp>
      <p:pic>
        <p:nvPicPr>
          <p:cNvPr id="12" name="BainLogo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60000" y="6654664"/>
            <a:ext cx="1152000" cy="144000"/>
          </a:xfrm>
          <a:prstGeom prst="rect">
            <a:avLst/>
          </a:prstGeom>
        </p:spPr>
      </p:pic>
      <p:sp>
        <p:nvSpPr>
          <p:cNvPr id="8" name="CreatedFooter"/>
          <p:cNvSpPr/>
          <p:nvPr userDrawn="1"/>
        </p:nvSpPr>
        <p:spPr>
          <a:xfrm>
            <a:off x="8263033" y="6642830"/>
            <a:ext cx="1368171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en-US" sz="600">
                <a:solidFill>
                  <a:srgbClr val="FFFFFF"/>
                </a:solidFill>
              </a:rPr>
              <a:t>Feature benchmarking</a:t>
            </a:r>
            <a:endParaRPr lang="en-US" sz="600" dirty="0">
              <a:solidFill>
                <a:srgbClr val="FFFFFF"/>
              </a:solidFill>
            </a:endParaRPr>
          </a:p>
        </p:txBody>
      </p:sp>
      <p:sp>
        <p:nvSpPr>
          <p:cNvPr id="7" name="OfficeCode"/>
          <p:cNvSpPr/>
          <p:nvPr userDrawn="1"/>
        </p:nvSpPr>
        <p:spPr>
          <a:xfrm>
            <a:off x="7348519" y="6642830"/>
            <a:ext cx="288036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en-US" sz="600">
                <a:solidFill>
                  <a:srgbClr val="FFFFFF"/>
                </a:solidFill>
              </a:rPr>
              <a:t>DBS</a:t>
            </a:r>
            <a:endParaRPr lang="en-US" sz="600" dirty="0">
              <a:solidFill>
                <a:srgbClr val="FFFFFF"/>
              </a:solidFill>
            </a:endParaRPr>
          </a:p>
        </p:txBody>
      </p:sp>
      <p:pic>
        <p:nvPicPr>
          <p:cNvPr id="14" name="Disclaimer"/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316547" y="6641266"/>
            <a:ext cx="6407451" cy="176799"/>
          </a:xfrm>
          <a:prstGeom prst="rect">
            <a:avLst/>
          </a:prstGeom>
        </p:spPr>
      </p:pic>
      <p:cxnSp>
        <p:nvCxnSpPr>
          <p:cNvPr id="20" name="FooterSeparatorLine"/>
          <p:cNvCxnSpPr/>
          <p:nvPr userDrawn="1"/>
        </p:nvCxnSpPr>
        <p:spPr>
          <a:xfrm>
            <a:off x="0" y="6598800"/>
            <a:ext cx="11857037" cy="0"/>
          </a:xfrm>
          <a:prstGeom prst="line">
            <a:avLst/>
          </a:prstGeom>
          <a:ln w="9525" cap="flat">
            <a:solidFill>
              <a:schemeClr val="accent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>
          <a:xfrm>
            <a:off x="334435" y="1268413"/>
            <a:ext cx="11522603" cy="5292725"/>
          </a:xfrm>
          <a:prstGeom prst="rect">
            <a:avLst/>
          </a:prstGeom>
        </p:spPr>
        <p:txBody>
          <a:bodyPr vert="horz" lIns="36000" tIns="36000" rIns="36000" bIns="3600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23" name="TitleSeparatorLine"/>
          <p:cNvCxnSpPr/>
          <p:nvPr userDrawn="1"/>
        </p:nvCxnSpPr>
        <p:spPr>
          <a:xfrm>
            <a:off x="0" y="873125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lide Title"/>
          <p:cNvSpPr>
            <a:spLocks noGrp="1"/>
          </p:cNvSpPr>
          <p:nvPr>
            <p:ph type="title"/>
          </p:nvPr>
        </p:nvSpPr>
        <p:spPr>
          <a:xfrm>
            <a:off x="334963" y="1"/>
            <a:ext cx="11522075" cy="876687"/>
          </a:xfrm>
          <a:prstGeom prst="rect">
            <a:avLst/>
          </a:prstGeom>
        </p:spPr>
        <p:txBody>
          <a:bodyPr vert="horz" lIns="36000" tIns="36000" rIns="36000" bIns="72000" rtlCol="0" anchor="b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97952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63" r:id="rId3"/>
    <p:sldLayoutId id="2147483655" r:id="rId4"/>
  </p:sldLayoutIdLst>
  <p:txStyles>
    <p:titleStyle>
      <a:lvl1pPr algn="l" defTabSz="711200" rtl="0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354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1950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4988" indent="-173038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5963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2563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177800" indent="-177800" algn="l" defTabSz="711200" rtl="0" eaLnBrk="1" latinLnBrk="0" hangingPunct="1">
        <a:spcBef>
          <a:spcPts val="1200"/>
        </a:spcBef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34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12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890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668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2446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4224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6002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50" userDrawn="1">
          <p15:clr>
            <a:srgbClr val="D1D1D1"/>
          </p15:clr>
        </p15:guide>
        <p15:guide id="4" orient="horz" pos="799" userDrawn="1">
          <p15:clr>
            <a:srgbClr val="D1D1D1"/>
          </p15:clr>
        </p15:guide>
        <p15:guide id="7" orient="horz" pos="4133" userDrawn="1">
          <p15:clr>
            <a:srgbClr val="D1D1D1"/>
          </p15:clr>
        </p15:guide>
        <p15:guide id="8" pos="208" userDrawn="1">
          <p15:clr>
            <a:srgbClr val="CCCCCC"/>
          </p15:clr>
        </p15:guide>
        <p15:guide id="9" pos="7472" userDrawn="1">
          <p15:clr>
            <a:srgbClr val="CCCCCC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.xml"/><Relationship Id="rId3" Type="http://schemas.openxmlformats.org/officeDocument/2006/relationships/tags" Target="../tags/tag5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5" Type="http://schemas.openxmlformats.org/officeDocument/2006/relationships/tags" Target="../tags/tag7.xml"/><Relationship Id="rId10" Type="http://schemas.openxmlformats.org/officeDocument/2006/relationships/image" Target="../media/image1.emf"/><Relationship Id="rId4" Type="http://schemas.openxmlformats.org/officeDocument/2006/relationships/tags" Target="../tags/tag6.xml"/><Relationship Id="rId9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.xml"/><Relationship Id="rId3" Type="http://schemas.openxmlformats.org/officeDocument/2006/relationships/tags" Target="../tags/tag11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tags" Target="../tags/tag14.xml"/><Relationship Id="rId5" Type="http://schemas.openxmlformats.org/officeDocument/2006/relationships/tags" Target="../tags/tag13.xml"/><Relationship Id="rId10" Type="http://schemas.openxmlformats.org/officeDocument/2006/relationships/image" Target="../media/image1.emf"/><Relationship Id="rId4" Type="http://schemas.openxmlformats.org/officeDocument/2006/relationships/tags" Target="../tags/tag12.xml"/><Relationship Id="rId9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think-cell data - do not delete" hidden="1">
            <a:extLst>
              <a:ext uri="{FF2B5EF4-FFF2-40B4-BE49-F238E27FC236}">
                <a16:creationId xmlns:a16="http://schemas.microsoft.com/office/drawing/2014/main" id="{24A5103F-7617-A10C-D71B-0EAA6854783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44797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84" imgH="486" progId="TCLayout.ActiveDocument.1">
                  <p:embed/>
                </p:oleObj>
              </mc:Choice>
              <mc:Fallback>
                <p:oleObj name="think-cell Slide" r:id="rId9" imgW="484" imgH="486" progId="TCLayout.ActiveDocument.1">
                  <p:embed/>
                  <p:pic>
                    <p:nvPicPr>
                      <p:cNvPr id="2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4A5103F-7617-A10C-D71B-0EAA685478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9" name="btfpColumnIndicatorGroup2">
            <a:extLst>
              <a:ext uri="{FF2B5EF4-FFF2-40B4-BE49-F238E27FC236}">
                <a16:creationId xmlns:a16="http://schemas.microsoft.com/office/drawing/2014/main" id="{6F7A3971-5180-3A80-AA42-A5E01DB304F1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259363">
              <a:extLst>
                <a:ext uri="{FF2B5EF4-FFF2-40B4-BE49-F238E27FC236}">
                  <a16:creationId xmlns:a16="http://schemas.microsoft.com/office/drawing/2014/main" id="{D24561FB-38F2-1050-7493-D0A79FBF0897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12" name="btfpColumnGapBlocker434368">
              <a:extLst>
                <a:ext uri="{FF2B5EF4-FFF2-40B4-BE49-F238E27FC236}">
                  <a16:creationId xmlns:a16="http://schemas.microsoft.com/office/drawing/2014/main" id="{2A685536-E99F-6EA3-5208-E1BE42E055D6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10" name="btfpColumnIndicator312246">
              <a:extLst>
                <a:ext uri="{FF2B5EF4-FFF2-40B4-BE49-F238E27FC236}">
                  <a16:creationId xmlns:a16="http://schemas.microsoft.com/office/drawing/2014/main" id="{E2C9A80E-6397-6325-1821-259843667800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btfpColumnIndicator683490">
              <a:extLst>
                <a:ext uri="{FF2B5EF4-FFF2-40B4-BE49-F238E27FC236}">
                  <a16:creationId xmlns:a16="http://schemas.microsoft.com/office/drawing/2014/main" id="{BB830ECE-7A30-1BA3-DF66-D45D5C52E4B2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B6AFDD0F-0B7F-94D1-02B0-2A303DC26B8B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487690">
              <a:extLst>
                <a:ext uri="{FF2B5EF4-FFF2-40B4-BE49-F238E27FC236}">
                  <a16:creationId xmlns:a16="http://schemas.microsoft.com/office/drawing/2014/main" id="{9FF9F8F0-B310-1DC0-BE5D-BFEE79487CA9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11" name="btfpColumnGapBlocker197715">
              <a:extLst>
                <a:ext uri="{FF2B5EF4-FFF2-40B4-BE49-F238E27FC236}">
                  <a16:creationId xmlns:a16="http://schemas.microsoft.com/office/drawing/2014/main" id="{0D5C2BB8-2E7F-9887-0DDF-864826D9EA46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9" name="btfpColumnIndicator550974">
              <a:extLst>
                <a:ext uri="{FF2B5EF4-FFF2-40B4-BE49-F238E27FC236}">
                  <a16:creationId xmlns:a16="http://schemas.microsoft.com/office/drawing/2014/main" id="{84BD26AF-C4BC-5086-27F0-AB90C395E15F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24579">
              <a:extLst>
                <a:ext uri="{FF2B5EF4-FFF2-40B4-BE49-F238E27FC236}">
                  <a16:creationId xmlns:a16="http://schemas.microsoft.com/office/drawing/2014/main" id="{D13CA53F-FF2B-00F6-ED5F-2E622A15BCA3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83" name="btfpTable473359">
            <a:extLst>
              <a:ext uri="{FF2B5EF4-FFF2-40B4-BE49-F238E27FC236}">
                <a16:creationId xmlns:a16="http://schemas.microsoft.com/office/drawing/2014/main" id="{57D8B81A-1C64-1E7C-79DF-9E4DC19B7FA5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142772350"/>
              </p:ext>
            </p:extLst>
          </p:nvPr>
        </p:nvGraphicFramePr>
        <p:xfrm>
          <a:off x="330200" y="1274956"/>
          <a:ext cx="11522077" cy="5183655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989013">
                  <a:extLst>
                    <a:ext uri="{9D8B030D-6E8A-4147-A177-3AD203B41FA5}">
                      <a16:colId xmlns:a16="http://schemas.microsoft.com/office/drawing/2014/main" val="3303184647"/>
                    </a:ext>
                  </a:extLst>
                </a:gridCol>
                <a:gridCol w="2451100">
                  <a:extLst>
                    <a:ext uri="{9D8B030D-6E8A-4147-A177-3AD203B41FA5}">
                      <a16:colId xmlns:a16="http://schemas.microsoft.com/office/drawing/2014/main" val="2797461264"/>
                    </a:ext>
                  </a:extLst>
                </a:gridCol>
                <a:gridCol w="1073152">
                  <a:extLst>
                    <a:ext uri="{9D8B030D-6E8A-4147-A177-3AD203B41FA5}">
                      <a16:colId xmlns:a16="http://schemas.microsoft.com/office/drawing/2014/main" val="955048728"/>
                    </a:ext>
                  </a:extLst>
                </a:gridCol>
                <a:gridCol w="1752203">
                  <a:extLst>
                    <a:ext uri="{9D8B030D-6E8A-4147-A177-3AD203B41FA5}">
                      <a16:colId xmlns:a16="http://schemas.microsoft.com/office/drawing/2014/main" val="1788036504"/>
                    </a:ext>
                  </a:extLst>
                </a:gridCol>
                <a:gridCol w="1752203">
                  <a:extLst>
                    <a:ext uri="{9D8B030D-6E8A-4147-A177-3AD203B41FA5}">
                      <a16:colId xmlns:a16="http://schemas.microsoft.com/office/drawing/2014/main" val="3448254627"/>
                    </a:ext>
                  </a:extLst>
                </a:gridCol>
                <a:gridCol w="1752203">
                  <a:extLst>
                    <a:ext uri="{9D8B030D-6E8A-4147-A177-3AD203B41FA5}">
                      <a16:colId xmlns:a16="http://schemas.microsoft.com/office/drawing/2014/main" val="1731476216"/>
                    </a:ext>
                  </a:extLst>
                </a:gridCol>
                <a:gridCol w="1752203">
                  <a:extLst>
                    <a:ext uri="{9D8B030D-6E8A-4147-A177-3AD203B41FA5}">
                      <a16:colId xmlns:a16="http://schemas.microsoft.com/office/drawing/2014/main" val="371480917"/>
                    </a:ext>
                  </a:extLst>
                </a:gridCol>
              </a:tblGrid>
              <a:tr h="391327">
                <a:tc>
                  <a:txBody>
                    <a:bodyPr/>
                    <a:lstStyle/>
                    <a:p>
                      <a:pPr marL="0" indent="0">
                        <a:spcBef>
                          <a:spcPts val="0"/>
                        </a:spcBef>
                        <a:buFontTx/>
                        <a:buNone/>
                      </a:pPr>
                      <a:r>
                        <a:rPr lang="en-US" sz="1000"/>
                        <a:t>Value cha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0"/>
                        </a:spcBef>
                        <a:buFontTx/>
                        <a:buNone/>
                      </a:pPr>
                      <a:r>
                        <a:rPr lang="en-US" sz="1000"/>
                        <a:t>Feature</a:t>
                      </a:r>
                    </a:p>
                  </a:txBody>
                  <a:tcPr anchor="b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0"/>
                        </a:spcBef>
                        <a:buFontTx/>
                        <a:buNone/>
                      </a:pPr>
                      <a:r>
                        <a:rPr lang="en-US" sz="1000"/>
                        <a:t>Technical sophistication</a:t>
                      </a:r>
                    </a:p>
                  </a:txBody>
                  <a:tcPr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0"/>
                        </a:spcBef>
                        <a:buFontTx/>
                        <a:buNone/>
                      </a:pPr>
                      <a:endParaRPr lang="en-US" sz="1600"/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0"/>
                        </a:spcBef>
                        <a:buFontTx/>
                        <a:buNone/>
                      </a:pPr>
                      <a:endParaRPr lang="en-US" sz="1600"/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0"/>
                        </a:spcBef>
                        <a:buFontTx/>
                        <a:buNone/>
                      </a:pPr>
                      <a:endParaRPr lang="en-US" sz="1600"/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0"/>
                        </a:spcBef>
                        <a:buFontTx/>
                        <a:buNone/>
                      </a:pPr>
                      <a:endParaRPr lang="en-US" sz="1600"/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338524597"/>
                  </a:ext>
                </a:extLst>
              </a:tr>
              <a:tr h="161123">
                <a:tc rowSpan="7">
                  <a:txBody>
                    <a:bodyPr/>
                    <a:lstStyle/>
                    <a:p>
                      <a:pPr marL="0" lvl="0" indent="0" algn="l" defTabSz="711200" rtl="0" eaLnBrk="1" fontAlgn="b" latinLnBrk="0" hangingPunct="1">
                        <a:spcBef>
                          <a:spcPts val="1200"/>
                        </a:spcBef>
                        <a:buFontTx/>
                        <a:buNone/>
                      </a:pPr>
                      <a:r>
                        <a:rPr lang="en-US" sz="900" b="1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Development</a:t>
                      </a:r>
                    </a:p>
                  </a:txBody>
                  <a:tcPr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57150" lvl="0" indent="0" algn="l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ich text formatting and multimedia embedding</a:t>
                      </a:r>
                    </a:p>
                  </a:txBody>
                  <a:tcPr marL="0" marR="0" marT="0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57150" lvl="0" indent="0" algn="l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edium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9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 rowSpan="7">
                  <a:txBody>
                    <a:bodyPr/>
                    <a:lstStyle/>
                    <a:p>
                      <a:pPr marL="0" indent="0" algn="ctr" defTabSz="711200" rtl="0" eaLnBrk="1" fontAlgn="b" latinLnBrk="0" hangingPunct="1">
                        <a:spcBef>
                          <a:spcPts val="1200"/>
                        </a:spcBef>
                        <a:buNone/>
                      </a:pPr>
                      <a:endParaRPr lang="en-US" sz="900" b="1" i="0" u="none" strike="noStrike" kern="120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9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9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891A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68548799"/>
                  </a:ext>
                </a:extLst>
              </a:tr>
              <a:tr h="161123">
                <a:tc vMerge="1"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57150" algn="l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daptive testing algorithms</a:t>
                      </a:r>
                    </a:p>
                  </a:txBody>
                  <a:tcPr marL="0" marR="0" marT="0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lvl="0" indent="57150" algn="l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edium/ High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B4B4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indent="0" algn="ctr" defTabSz="711200" rtl="0" eaLnBrk="1" fontAlgn="b" latinLnBrk="0" hangingPunct="1">
                        <a:spcBef>
                          <a:spcPts val="1200"/>
                        </a:spcBef>
                        <a:buNone/>
                      </a:pPr>
                      <a:endParaRPr lang="en-US" sz="900" b="1" i="0" u="none" strike="noStrike" kern="120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pattFill prst="ltUpDiag">
                      <a:fgClr>
                        <a:srgbClr val="D6D6D6"/>
                      </a:fgClr>
                      <a:bgClr>
                        <a:srgbClr val="FFFFFF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9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 rowSpan="6"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9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1739418"/>
                  </a:ext>
                </a:extLst>
              </a:tr>
              <a:tr h="161123">
                <a:tc vMerge="1">
                  <a:txBody>
                    <a:bodyPr/>
                    <a:lstStyle/>
                    <a:p>
                      <a:pPr marL="0" lvl="0" indent="0" algn="l" defTabSz="711200" rtl="0" eaLnBrk="1" fontAlgn="b" latinLnBrk="0" hangingPunct="1">
                        <a:spcBef>
                          <a:spcPts val="1200"/>
                        </a:spcBef>
                        <a:buFontTx/>
                        <a:buNone/>
                      </a:pPr>
                      <a:endParaRPr lang="en-US" sz="1100" b="1" i="0" u="none" strike="noStrike" kern="120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rgbClr val="DCE5E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57150" algn="l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est item banking</a:t>
                      </a:r>
                    </a:p>
                  </a:txBody>
                  <a:tcPr marL="0" marR="0" marT="0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indent="57150" algn="l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ow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rowSpan="3"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9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1" i="0" u="none" strike="noStrike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ExamDeveloper</a:t>
                      </a:r>
                      <a:endParaRPr lang="en-US" sz="9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rowSpan="5"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9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Meazure Exam Platform</a:t>
                      </a:r>
                    </a:p>
                  </a:txBody>
                  <a:tcPr marL="0" marR="0" marT="0" marB="0" anchor="ctr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84703549"/>
                  </a:ext>
                </a:extLst>
              </a:tr>
              <a:tr h="161123">
                <a:tc vMerge="1">
                  <a:txBody>
                    <a:bodyPr/>
                    <a:lstStyle/>
                    <a:p>
                      <a:pPr marL="0" lvl="0" indent="0" algn="l" defTabSz="711200" rtl="0" eaLnBrk="1" fontAlgn="b" latinLnBrk="0" hangingPunct="1">
                        <a:spcBef>
                          <a:spcPts val="1200"/>
                        </a:spcBef>
                        <a:buFontTx/>
                        <a:buNone/>
                      </a:pPr>
                      <a:endParaRPr lang="en-US" sz="1100" b="1" i="0" u="none" strike="noStrike" kern="120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rgbClr val="DCE5E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57150" algn="l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ollaborative authoring tools</a:t>
                      </a:r>
                    </a:p>
                  </a:txBody>
                  <a:tcPr marL="0" marR="0" marT="0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indent="57150" algn="l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edium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vMerge="1"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1" i="0" u="none" strike="noStrike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oBuilder</a:t>
                      </a:r>
                      <a:endParaRPr lang="en-US" sz="9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1" i="0" u="none" strike="noStrike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ExamDeveloper</a:t>
                      </a:r>
                      <a:endParaRPr lang="en-US" sz="9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Content Builder</a:t>
                      </a:r>
                    </a:p>
                  </a:txBody>
                  <a:tcPr marL="0" marR="0" marT="0" marB="0" anchor="ctr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1" i="0" u="none" strike="noStrike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Meazure</a:t>
                      </a:r>
                      <a:r>
                        <a:rPr lang="en-US" sz="9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 Exam Platform </a:t>
                      </a:r>
                    </a:p>
                  </a:txBody>
                  <a:tcPr marL="0" marR="0" marT="0" marB="0" anchor="ctr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4861430"/>
                  </a:ext>
                </a:extLst>
              </a:tr>
              <a:tr h="161123">
                <a:tc vMerge="1">
                  <a:txBody>
                    <a:bodyPr/>
                    <a:lstStyle/>
                    <a:p>
                      <a:pPr marL="0" lvl="0" indent="0" algn="l" defTabSz="711200" rtl="0" eaLnBrk="1" fontAlgn="b" latinLnBrk="0" hangingPunct="1">
                        <a:spcBef>
                          <a:spcPts val="1200"/>
                        </a:spcBef>
                        <a:buFontTx/>
                        <a:buNone/>
                      </a:pPr>
                      <a:endParaRPr lang="en-US" sz="1100" b="1" i="0" u="none" strike="noStrike" kern="120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rgbClr val="DCE5E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57150" algn="l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ontent authoring and editing</a:t>
                      </a:r>
                    </a:p>
                  </a:txBody>
                  <a:tcPr marL="0" marR="0" marT="0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indent="57150" algn="l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edium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vMerge="1"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1" i="0" u="none" strike="noStrike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oBuilder</a:t>
                      </a:r>
                      <a:endParaRPr lang="en-US" sz="9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1" i="0" u="none" strike="noStrike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ExamDeveloper</a:t>
                      </a:r>
                      <a:endParaRPr lang="en-US" sz="9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Content Builder</a:t>
                      </a:r>
                    </a:p>
                  </a:txBody>
                  <a:tcPr marL="0" marR="0" marT="0" marB="0" anchor="ctr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1" i="0" u="none" strike="noStrike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Meazure</a:t>
                      </a:r>
                      <a:r>
                        <a:rPr lang="en-US" sz="9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 Exam Platform </a:t>
                      </a:r>
                    </a:p>
                  </a:txBody>
                  <a:tcPr marL="0" marR="0" marT="0" marB="0" anchor="ctr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7466450"/>
                  </a:ext>
                </a:extLst>
              </a:tr>
              <a:tr h="161123">
                <a:tc vMerge="1">
                  <a:txBody>
                    <a:bodyPr/>
                    <a:lstStyle/>
                    <a:p>
                      <a:pPr marL="0" lvl="0" indent="0" algn="l" defTabSz="711200" rtl="0" eaLnBrk="1" fontAlgn="b" latinLnBrk="0" hangingPunct="1">
                        <a:spcBef>
                          <a:spcPts val="1200"/>
                        </a:spcBef>
                        <a:buFontTx/>
                        <a:buNone/>
                      </a:pPr>
                      <a:endParaRPr lang="en-US" sz="1100" b="1" i="0" u="none" strike="noStrike" kern="120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rgbClr val="DCE5E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57150" algn="l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etadata tagging</a:t>
                      </a:r>
                    </a:p>
                  </a:txBody>
                  <a:tcPr marL="0" marR="0" marT="0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indent="57150" algn="l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ow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9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1" i="0" u="none" strike="noStrike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ExamDeveloper</a:t>
                      </a:r>
                      <a:endParaRPr lang="en-US" sz="9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Content Builder</a:t>
                      </a:r>
                    </a:p>
                  </a:txBody>
                  <a:tcPr marL="0" marR="0" marT="0" marB="0" anchor="ctr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pattFill prst="ltUpDiag">
                      <a:fgClr>
                        <a:srgbClr val="D6D6D6">
                          <a:alpha val="75000"/>
                        </a:srgbClr>
                      </a:fgClr>
                      <a:bgClr>
                        <a:srgbClr val="FFFFFF">
                          <a:alpha val="75000"/>
                        </a:srgbClr>
                      </a:bgClr>
                    </a:pattFill>
                  </a:tcPr>
                </a:tc>
                <a:extLst>
                  <a:ext uri="{0D108BD9-81ED-4DB2-BD59-A6C34878D82A}">
                    <a16:rowId xmlns:a16="http://schemas.microsoft.com/office/drawing/2014/main" val="552395394"/>
                  </a:ext>
                </a:extLst>
              </a:tr>
              <a:tr h="161123">
                <a:tc vMerge="1">
                  <a:txBody>
                    <a:bodyPr/>
                    <a:lstStyle/>
                    <a:p>
                      <a:pPr marL="0" lvl="0" indent="0" algn="l" defTabSz="711200" rtl="0" eaLnBrk="1" fontAlgn="b" latinLnBrk="0" hangingPunct="1">
                        <a:spcBef>
                          <a:spcPts val="1200"/>
                        </a:spcBef>
                        <a:buFontTx/>
                        <a:buNone/>
                      </a:pPr>
                      <a:endParaRPr lang="en-US" sz="1100" b="1" i="0" u="none" strike="noStrike" kern="120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rgbClr val="DCE5E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57150" algn="l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near-based testing support</a:t>
                      </a:r>
                    </a:p>
                  </a:txBody>
                  <a:tcPr marL="0" marR="0" marT="0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57150" algn="l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ow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9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1" i="0" u="none" strike="noStrike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ExamDeveloper</a:t>
                      </a:r>
                      <a:endParaRPr lang="en-US" sz="9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Content Builder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Meazure Exam Platform 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0488872"/>
                  </a:ext>
                </a:extLst>
              </a:tr>
              <a:tr h="161123">
                <a:tc rowSpan="4">
                  <a:txBody>
                    <a:bodyPr/>
                    <a:lstStyle/>
                    <a:p>
                      <a:pPr marL="0" lvl="0" indent="0" algn="l" defTabSz="711200" rtl="0" eaLnBrk="1" fontAlgn="b" latinLnBrk="0" hangingPunct="1">
                        <a:spcBef>
                          <a:spcPts val="1200"/>
                        </a:spcBef>
                        <a:buFontTx/>
                        <a:buNone/>
                      </a:pPr>
                      <a:r>
                        <a:rPr lang="en-US" sz="900" b="1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Publishing</a:t>
                      </a:r>
                    </a:p>
                  </a:txBody>
                  <a:tcP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57150" algn="l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ncrypted content delivery</a:t>
                      </a:r>
                    </a:p>
                  </a:txBody>
                  <a:tcPr marL="0" marR="0" marT="0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indent="57150" algn="l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ow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9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83AC9A"/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9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9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83AC9A"/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9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06078640"/>
                  </a:ext>
                </a:extLst>
              </a:tr>
              <a:tr h="161123">
                <a:tc vMerge="1">
                  <a:txBody>
                    <a:bodyPr/>
                    <a:lstStyle/>
                    <a:p>
                      <a:pPr marL="0" lvl="0" indent="0" algn="l" defTabSz="711200" rtl="0" eaLnBrk="1" fontAlgn="b" latinLnBrk="0" hangingPunct="1">
                        <a:spcBef>
                          <a:spcPts val="1200"/>
                        </a:spcBef>
                        <a:buFontTx/>
                        <a:buNone/>
                      </a:pPr>
                      <a:endParaRPr lang="en-US" sz="1100" b="1" i="0" u="none" strike="noStrike" kern="120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rgbClr val="DCE5E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57150" algn="l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ole-based access controls for administrators</a:t>
                      </a:r>
                    </a:p>
                  </a:txBody>
                  <a:tcPr marL="0" marR="0" marT="0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indent="57150" algn="l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edium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rowSpan="3"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9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ExamDeveloper</a:t>
                      </a:r>
                    </a:p>
                  </a:txBody>
                  <a:tcPr marL="0" marR="0" marT="0" marB="0" anchor="ctr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9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rgbClr val="83AC9A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1" i="0" u="none" strike="noStrike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Meazure</a:t>
                      </a:r>
                      <a:r>
                        <a:rPr lang="en-US" sz="9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 Exam Platform </a:t>
                      </a:r>
                    </a:p>
                  </a:txBody>
                  <a:tcPr marL="0" marR="0" marT="0" marB="0" anchor="ctr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8436920"/>
                  </a:ext>
                </a:extLst>
              </a:tr>
              <a:tr h="161123">
                <a:tc vMerge="1">
                  <a:txBody>
                    <a:bodyPr/>
                    <a:lstStyle/>
                    <a:p>
                      <a:pPr marL="0" lvl="0" indent="0" algn="l" defTabSz="711200" rtl="0" eaLnBrk="1" fontAlgn="b" latinLnBrk="0" hangingPunct="1">
                        <a:spcBef>
                          <a:spcPts val="1200"/>
                        </a:spcBef>
                        <a:buFontTx/>
                        <a:buNone/>
                      </a:pPr>
                      <a:endParaRPr lang="en-US" sz="1100" b="1" i="0" u="none" strike="noStrike" kern="120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rgbClr val="DCE5E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57150" algn="l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Version control and revision history</a:t>
                      </a:r>
                    </a:p>
                  </a:txBody>
                  <a:tcPr marL="0" marR="0" marT="0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indent="57150" algn="l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edium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vMerge="1"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oBuilder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1" i="0" u="none" strike="noStrike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ExamDeveloper</a:t>
                      </a:r>
                      <a:endParaRPr lang="en-US" sz="9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tlas Cloud / Dimensions</a:t>
                      </a:r>
                    </a:p>
                  </a:txBody>
                  <a:tcPr marL="0" marR="0" marT="0" marB="0" anchor="ctr">
                    <a:solidFill>
                      <a:srgbClr val="83AC9A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1" i="0" u="none" strike="noStrike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Meazure</a:t>
                      </a:r>
                      <a:r>
                        <a:rPr lang="en-US" sz="9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 Exam Platform </a:t>
                      </a:r>
                    </a:p>
                  </a:txBody>
                  <a:tcPr marL="0" marR="0" marT="0" marB="0" anchor="ctr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91400669"/>
                  </a:ext>
                </a:extLst>
              </a:tr>
              <a:tr h="161123">
                <a:tc vMerge="1">
                  <a:txBody>
                    <a:bodyPr/>
                    <a:lstStyle/>
                    <a:p>
                      <a:pPr marL="0" lvl="0" indent="0" algn="l" defTabSz="711200" rtl="0" eaLnBrk="1" fontAlgn="b" latinLnBrk="0" hangingPunct="1">
                        <a:spcBef>
                          <a:spcPts val="1200"/>
                        </a:spcBef>
                        <a:buFontTx/>
                        <a:buNone/>
                      </a:pPr>
                      <a:endParaRPr lang="en-US" sz="1100" b="1" i="0" u="none" strike="noStrike" kern="120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rgbClr val="DCE5E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57150" algn="l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ntegration with 3</a:t>
                      </a:r>
                      <a:r>
                        <a:rPr lang="en-US" sz="900" b="0" i="0" u="none" strike="noStrike" baseline="30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d</a:t>
                      </a: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party test driver</a:t>
                      </a:r>
                    </a:p>
                  </a:txBody>
                  <a:tcPr marL="0" marR="0" marT="0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57150" algn="l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edium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1" i="0" u="none" strike="noStrike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oBuilder</a:t>
                      </a:r>
                      <a:endParaRPr lang="en-US" sz="9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B4B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9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1" i="0" u="none" strike="noStrike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Meazure</a:t>
                      </a:r>
                      <a:r>
                        <a:rPr lang="en-US" sz="9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 Exam Platform  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767009"/>
                  </a:ext>
                </a:extLst>
              </a:tr>
              <a:tr h="161123">
                <a:tc rowSpan="4">
                  <a:txBody>
                    <a:bodyPr/>
                    <a:lstStyle/>
                    <a:p>
                      <a:pPr marL="0" lvl="0" indent="0" algn="l" fontAlgn="b">
                        <a:buNone/>
                      </a:pPr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Scheduling</a:t>
                      </a:r>
                    </a:p>
                  </a:txBody>
                  <a:tcPr marL="0" marR="0" marT="0" marB="0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57150" algn="l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utomated calendar invites</a:t>
                      </a:r>
                    </a:p>
                  </a:txBody>
                  <a:tcPr marL="0" marR="0" marT="0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lvl="0" indent="57150" algn="l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edium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9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B4B4"/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9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9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9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73819551"/>
                  </a:ext>
                </a:extLst>
              </a:tr>
              <a:tr h="161123">
                <a:tc vMerge="1"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cheduling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lvl="0" indent="57150" algn="l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elf-service scheduling/ rescheduling</a:t>
                      </a:r>
                    </a:p>
                  </a:txBody>
                  <a:tcPr marL="0" marR="0" marT="0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lvl="0" indent="57150" algn="l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edium/ High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9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WebMG</a:t>
                      </a:r>
                    </a:p>
                  </a:txBody>
                  <a:tcPr marL="0" marR="0" marT="0" marB="0" anchor="ctr"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9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octorU</a:t>
                      </a:r>
                    </a:p>
                  </a:txBody>
                  <a:tcPr marL="0" marR="0" marT="0" marB="0" anchor="ctr">
                    <a:solidFill>
                      <a:srgbClr val="83AC9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02079161"/>
                  </a:ext>
                </a:extLst>
              </a:tr>
              <a:tr h="161123">
                <a:tc vMerge="1"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cheduling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lvl="0" indent="57150" algn="l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dvanced proctor capacity planning</a:t>
                      </a:r>
                    </a:p>
                  </a:txBody>
                  <a:tcPr marL="0" marR="0" marT="0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lvl="0" indent="57150" algn="l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igh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B4B4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pattFill prst="ltUpDiag">
                      <a:fgClr>
                        <a:srgbClr val="D6D6D6">
                          <a:alpha val="75000"/>
                        </a:srgbClr>
                      </a:fgClr>
                      <a:bgClr>
                        <a:srgbClr val="FFFFFF">
                          <a:alpha val="75000"/>
                        </a:srgbClr>
                      </a:bgClr>
                    </a:pattFill>
                  </a:tcPr>
                </a:tc>
                <a:tc rowSpan="2"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9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octorU</a:t>
                      </a:r>
                    </a:p>
                  </a:txBody>
                  <a:tcPr marL="0" marR="0" marT="0" marB="0" anchor="ctr">
                    <a:solidFill>
                      <a:srgbClr val="83AC9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3016093"/>
                  </a:ext>
                </a:extLst>
              </a:tr>
              <a:tr h="161123">
                <a:tc vMerge="1">
                  <a:txBody>
                    <a:bodyPr/>
                    <a:lstStyle/>
                    <a:p>
                      <a:pPr marL="0" lvl="0" indent="0" algn="l" fontAlgn="b">
                        <a:buNone/>
                      </a:pP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rgbClr val="EED6E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57150" algn="l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ynamic proctor scheduling</a:t>
                      </a:r>
                    </a:p>
                  </a:txBody>
                  <a:tcPr marL="0" marR="0" marT="0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57150" algn="l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igh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9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891AA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1" i="0" u="none" strike="noStrike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WebMG</a:t>
                      </a:r>
                      <a:endParaRPr lang="en-US" sz="9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Scheduling platform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9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2805594"/>
                  </a:ext>
                </a:extLst>
              </a:tr>
              <a:tr h="161123">
                <a:tc rowSpan="14">
                  <a:txBody>
                    <a:bodyPr/>
                    <a:lstStyle/>
                    <a:p>
                      <a:pPr marL="0" lvl="0" indent="0" algn="l" fontAlgn="b">
                        <a:buNone/>
                      </a:pPr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Check-in</a:t>
                      </a:r>
                    </a:p>
                  </a:txBody>
                  <a:tcPr marL="0" marR="0" marT="0" marB="0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57150" algn="l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ve chat/ instant messaging</a:t>
                      </a:r>
                    </a:p>
                  </a:txBody>
                  <a:tcPr marL="0" marR="0" marT="0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lvl="0" indent="57150" algn="l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edium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9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891A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9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891AA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9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9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891A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8160725"/>
                  </a:ext>
                </a:extLst>
              </a:tr>
              <a:tr h="161123">
                <a:tc vMerge="1"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heck-in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lvl="0" indent="57150" algn="l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ystem/ hardware compatibility check</a:t>
                      </a:r>
                    </a:p>
                  </a:txBody>
                  <a:tcPr marL="0" marR="0" marT="0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lvl="0" indent="57150" algn="l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edium/ High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9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9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SI Bridge</a:t>
                      </a:r>
                    </a:p>
                  </a:txBody>
                  <a:tcPr marL="0" marR="0" marT="0" marB="0" anchor="ctr">
                    <a:solidFill>
                      <a:srgbClr val="83AC9A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LogMeIn</a:t>
                      </a:r>
                    </a:p>
                  </a:txBody>
                  <a:tcPr marL="0" marR="0" marT="0" marB="0" anchor="ctr">
                    <a:solidFill>
                      <a:srgbClr val="7891A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5845278"/>
                  </a:ext>
                </a:extLst>
              </a:tr>
              <a:tr h="275971">
                <a:tc vMerge="1"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heck-in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lvl="0" indent="57150" algn="l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acial recognition</a:t>
                      </a:r>
                    </a:p>
                  </a:txBody>
                  <a:tcPr marL="0" marR="0" marT="0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lvl="0" indent="57150" algn="l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igh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9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891AA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9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891A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9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891AA"/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9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6850823"/>
                  </a:ext>
                </a:extLst>
              </a:tr>
              <a:tr h="161123">
                <a:tc vMerge="1"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heck-in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lvl="0" indent="57150" algn="l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iometric verification</a:t>
                      </a:r>
                    </a:p>
                  </a:txBody>
                  <a:tcPr marL="0" marR="0" marT="0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lvl="0" indent="57150" algn="l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igh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rowSpan="2"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9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zure Cog. Services</a:t>
                      </a:r>
                    </a:p>
                  </a:txBody>
                  <a:tcPr marL="0" marR="0" marT="0" marB="0" anchor="ctr">
                    <a:solidFill>
                      <a:srgbClr val="7891A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pattFill prst="ltUpDiag">
                      <a:fgClr>
                        <a:srgbClr val="B4B4B4"/>
                      </a:fgClr>
                      <a:bgClr>
                        <a:srgbClr val="FFFFFF"/>
                      </a:bgClr>
                    </a:pattFill>
                  </a:tcPr>
                </a:tc>
                <a:tc vMerge="1"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1" i="0" u="none" strike="noStrike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octorU</a:t>
                      </a:r>
                      <a:endParaRPr lang="en-US" sz="9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rgbClr val="83AC9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7221865"/>
                  </a:ext>
                </a:extLst>
              </a:tr>
              <a:tr h="161123">
                <a:tc vMerge="1"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heck-in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lvl="0" indent="57150" algn="l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al-time verification by live human</a:t>
                      </a:r>
                    </a:p>
                  </a:txBody>
                  <a:tcPr marL="0" marR="0" marT="0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lvl="0" indent="57150" algn="l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ow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vMerge="1"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oProctor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83AC9A"/>
                    </a:solidFill>
                  </a:tcPr>
                </a:tc>
                <a:tc rowSpan="9"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9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9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1" i="0" u="none" strike="noStrike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octorU</a:t>
                      </a:r>
                      <a:endParaRPr lang="en-US" sz="9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rgbClr val="83AC9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7227697"/>
                  </a:ext>
                </a:extLst>
              </a:tr>
              <a:tr h="161123">
                <a:tc vMerge="1"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heck-in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lvl="0" indent="57150" algn="l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lacklist</a:t>
                      </a:r>
                    </a:p>
                  </a:txBody>
                  <a:tcPr marL="0" marR="0" marT="0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lvl="0" indent="57150" algn="l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edium/ High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endParaRPr lang="en-US" sz="900" b="1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B4B4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900" b="1"/>
                    </a:p>
                  </a:txBody>
                  <a:tcPr marL="0" marR="0" marT="0" marB="0" anchor="ctr">
                    <a:pattFill prst="ltUpDiag">
                      <a:fgClr>
                        <a:srgbClr val="D6D6D6">
                          <a:alpha val="75000"/>
                        </a:srgbClr>
                      </a:fgClr>
                      <a:bgClr>
                        <a:srgbClr val="FFFFFF">
                          <a:alpha val="75000"/>
                        </a:srgbClr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9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711200" rtl="0" eaLnBrk="1" fontAlgn="b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04230812"/>
                  </a:ext>
                </a:extLst>
              </a:tr>
              <a:tr h="161123">
                <a:tc vMerge="1"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heck-in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lvl="0" indent="57150" algn="l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Whitelist</a:t>
                      </a:r>
                    </a:p>
                  </a:txBody>
                  <a:tcPr marL="0" marR="0" marT="0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lvl="0" indent="57150" algn="l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edium/ High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rowSpan="4"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9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pattFill prst="ltUpDiag">
                      <a:fgClr>
                        <a:srgbClr val="D6D6D6">
                          <a:alpha val="75000"/>
                        </a:srgbClr>
                      </a:fgClr>
                      <a:bgClr>
                        <a:srgbClr val="FFFFFF">
                          <a:alpha val="75000"/>
                        </a:srgbClr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9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pattFill prst="ltUpDiag">
                      <a:fgClr>
                        <a:srgbClr val="D6D6D6">
                          <a:alpha val="75000"/>
                        </a:srgbClr>
                      </a:fgClr>
                      <a:bgClr>
                        <a:srgbClr val="FFFFFF">
                          <a:alpha val="75000"/>
                        </a:srgbClr>
                      </a:bgClr>
                    </a:pattFill>
                  </a:tcPr>
                </a:tc>
                <a:extLst>
                  <a:ext uri="{0D108BD9-81ED-4DB2-BD59-A6C34878D82A}">
                    <a16:rowId xmlns:a16="http://schemas.microsoft.com/office/drawing/2014/main" val="4153942712"/>
                  </a:ext>
                </a:extLst>
              </a:tr>
              <a:tr h="161123">
                <a:tc vMerge="1"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heck-in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lvl="0" indent="57150" algn="l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0 video capture of test environment</a:t>
                      </a:r>
                    </a:p>
                  </a:txBody>
                  <a:tcPr marL="0" marR="0" marT="0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lvl="0" indent="57150" algn="l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edium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vMerge="1"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oProctor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83AC9A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1" i="0" u="none" strike="noStrike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OnVUE</a:t>
                      </a:r>
                      <a:endParaRPr lang="en-US" sz="9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9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9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3727513"/>
                  </a:ext>
                </a:extLst>
              </a:tr>
              <a:tr h="161123">
                <a:tc vMerge="1"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heck-in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lvl="0" indent="57150" algn="l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rowser lock-down</a:t>
                      </a:r>
                    </a:p>
                  </a:txBody>
                  <a:tcPr marL="0" marR="0" marT="0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lvl="0" indent="57150" algn="l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igh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vMerge="1"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1" i="0" u="none" strike="noStrike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oProctor</a:t>
                      </a:r>
                      <a:endParaRPr lang="en-US" sz="9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83AC9A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rgbClr val="B4B4B4">
                        <a:alpha val="75000"/>
                      </a:srgb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9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9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5403232"/>
                  </a:ext>
                </a:extLst>
              </a:tr>
              <a:tr h="161123">
                <a:tc vMerge="1"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heck-in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lvl="0" indent="57150" algn="l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evice lock-down</a:t>
                      </a:r>
                    </a:p>
                  </a:txBody>
                  <a:tcPr marL="0" marR="0" marT="0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lvl="0" indent="57150" algn="l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igh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vMerge="1"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1" i="0" u="none" strike="noStrike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oProctor</a:t>
                      </a:r>
                      <a:endParaRPr lang="en-US" sz="9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83AC9A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1" i="0" u="none" strike="noStrike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OnVUE</a:t>
                      </a:r>
                      <a:endParaRPr lang="en-US" sz="9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rgbClr val="83AC9A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9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rgbClr val="B4B4B4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9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rgbClr val="B4B4B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61867786"/>
                  </a:ext>
                </a:extLst>
              </a:tr>
              <a:tr h="161123">
                <a:tc vMerge="1"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rgbClr val="EED6E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57150" algn="l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ime-sensitive secure links</a:t>
                      </a:r>
                    </a:p>
                  </a:txBody>
                  <a:tcPr marL="0" marR="0" marT="0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indent="57150" algn="l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edium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B4B4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OnVUE</a:t>
                      </a:r>
                    </a:p>
                  </a:txBody>
                  <a:tcPr marL="0" marR="0" marT="0" marB="0" anchor="ctr"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9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9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83AC9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4955730"/>
                  </a:ext>
                </a:extLst>
              </a:tr>
              <a:tr h="161123">
                <a:tc vMerge="1"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rgbClr val="EED6E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57150" algn="l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ulti-factor authentication</a:t>
                      </a:r>
                    </a:p>
                  </a:txBody>
                  <a:tcPr marL="0" marR="0" marT="0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indent="57150" algn="l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ow/ Medium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9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891AA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1" i="0" u="none" strike="noStrike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OnVUE</a:t>
                      </a:r>
                      <a:endParaRPr lang="en-US" sz="9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rgbClr val="83AC9A"/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9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83AC9A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1" i="0" u="none" strike="noStrike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octorU</a:t>
                      </a:r>
                      <a:endParaRPr lang="en-US" sz="9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rgbClr val="83AC9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79067641"/>
                  </a:ext>
                </a:extLst>
              </a:tr>
              <a:tr h="161123">
                <a:tc vMerge="1"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rgbClr val="EED6E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57150" algn="l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ecure document upload</a:t>
                      </a:r>
                    </a:p>
                  </a:txBody>
                  <a:tcPr marL="0" marR="0" marT="0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indent="57150" algn="l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ow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B4B4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1" i="0" u="none" strike="noStrike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OnVUE</a:t>
                      </a:r>
                      <a:endParaRPr lang="en-US" sz="9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rgbClr val="83AC9A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SI Bridge</a:t>
                      </a:r>
                    </a:p>
                  </a:txBody>
                  <a:tcPr marL="0" marR="0" marT="0" marB="0" anchor="ctr">
                    <a:solidFill>
                      <a:srgbClr val="83AC9A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1" i="0" u="none" strike="noStrike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octorU</a:t>
                      </a:r>
                      <a:endParaRPr lang="en-US" sz="9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rgbClr val="83AC9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1681568"/>
                  </a:ext>
                </a:extLst>
              </a:tr>
              <a:tr h="161123">
                <a:tc vMerge="1">
                  <a:txBody>
                    <a:bodyPr/>
                    <a:lstStyle/>
                    <a:p>
                      <a:pPr marL="0" lvl="0" indent="0" algn="l" fontAlgn="b">
                        <a:buNone/>
                      </a:pP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57150" algn="l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hoto capture of test environment</a:t>
                      </a:r>
                    </a:p>
                  </a:txBody>
                  <a:tcPr marL="0" marR="0" marT="0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indent="57150" algn="l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ow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900" b="0" i="1" u="none" strike="noStrike">
                        <a:solidFill>
                          <a:schemeClr val="bg2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pattFill prst="ltUpDiag">
                      <a:fgClr>
                        <a:srgbClr val="D6D6D6">
                          <a:alpha val="75000"/>
                        </a:srgbClr>
                      </a:fgClr>
                      <a:bgClr>
                        <a:srgbClr val="FFFFFF">
                          <a:alpha val="75000"/>
                        </a:srgbClr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9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B4B4B4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9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rgbClr val="83AC9A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9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rgbClr val="83AC9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54432222"/>
                  </a:ext>
                </a:extLst>
              </a:tr>
            </a:tbl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0B0EFAD-CFDB-B926-A346-C4440437E8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b="1" dirty="0"/>
              <a:t>Feature comparison | </a:t>
            </a:r>
            <a:r>
              <a:rPr lang="en-US" dirty="0"/>
              <a:t>Target has several features gaps which have been scoped out but not prioritized due to a lack of current customer demand</a:t>
            </a:r>
          </a:p>
        </p:txBody>
      </p:sp>
      <p:grpSp>
        <p:nvGrpSpPr>
          <p:cNvPr id="16" name="btfpRunningAgenda1Level853133">
            <a:extLst>
              <a:ext uri="{FF2B5EF4-FFF2-40B4-BE49-F238E27FC236}">
                <a16:creationId xmlns:a16="http://schemas.microsoft.com/office/drawing/2014/main" id="{B963F631-69D5-0E33-BA76-A40C0EE1617A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0" y="944429"/>
            <a:ext cx="2965776" cy="257443"/>
            <a:chOff x="0" y="876300"/>
            <a:chExt cx="2965776" cy="257443"/>
          </a:xfrm>
        </p:grpSpPr>
        <p:sp>
          <p:nvSpPr>
            <p:cNvPr id="17" name="btfpRunningAgenda1LevelBarLeft853133">
              <a:extLst>
                <a:ext uri="{FF2B5EF4-FFF2-40B4-BE49-F238E27FC236}">
                  <a16:creationId xmlns:a16="http://schemas.microsoft.com/office/drawing/2014/main" id="{7F2DEA33-7977-FC33-76C0-0ACA48DDBDA2}"/>
                </a:ext>
              </a:extLst>
            </p:cNvPr>
            <p:cNvSpPr/>
            <p:nvPr/>
          </p:nvSpPr>
          <p:spPr bwMode="gray">
            <a:xfrm>
              <a:off x="0" y="876300"/>
              <a:ext cx="2965776" cy="257443"/>
            </a:xfrm>
            <a:custGeom>
              <a:avLst/>
              <a:gdLst/>
              <a:ahLst/>
              <a:cxnLst/>
              <a:rect l="0" t="0" r="0" b="0"/>
              <a:pathLst>
                <a:path w="2965776" h="257443">
                  <a:moveTo>
                    <a:pt x="0" y="0"/>
                  </a:moveTo>
                  <a:lnTo>
                    <a:pt x="2965775" y="0"/>
                  </a:lnTo>
                  <a:lnTo>
                    <a:pt x="2911054" y="257442"/>
                  </a:lnTo>
                  <a:lnTo>
                    <a:pt x="0" y="257442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18" name="btfpRunningAgenda1LevelTextLeft853133">
              <a:extLst>
                <a:ext uri="{FF2B5EF4-FFF2-40B4-BE49-F238E27FC236}">
                  <a16:creationId xmlns:a16="http://schemas.microsoft.com/office/drawing/2014/main" id="{3BCEC6F2-159C-207C-E2AB-086769086ED2}"/>
                </a:ext>
              </a:extLst>
            </p:cNvPr>
            <p:cNvSpPr txBox="1"/>
            <p:nvPr/>
          </p:nvSpPr>
          <p:spPr bwMode="gray">
            <a:xfrm>
              <a:off x="0" y="876300"/>
              <a:ext cx="2911054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FFFFFF"/>
                  </a:solidFill>
                </a:rPr>
                <a:t>Product &amp; Tech</a:t>
              </a:r>
            </a:p>
          </p:txBody>
        </p:sp>
      </p:grpSp>
      <p:sp>
        <p:nvSpPr>
          <p:cNvPr id="35" name="btfpNotesBox679626">
            <a:extLst>
              <a:ext uri="{FF2B5EF4-FFF2-40B4-BE49-F238E27FC236}">
                <a16:creationId xmlns:a16="http://schemas.microsoft.com/office/drawing/2014/main" id="{09434B31-A3D9-17E6-C6A1-FBD8E7ACBB98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gray">
          <a:xfrm>
            <a:off x="334963" y="6458611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GB" sz="800">
                <a:solidFill>
                  <a:srgbClr val="000000"/>
                </a:solidFill>
              </a:rPr>
              <a:t>Source: Customer interviews (N=28), Competitor interviews (N = 24), Lit. search</a:t>
            </a:r>
            <a:endParaRPr lang="en-GB" sz="800">
              <a:solidFill>
                <a:srgbClr val="000000"/>
              </a:solidFill>
              <a:highlight>
                <a:srgbClr val="FFFF00"/>
              </a:highlight>
            </a:endParaRPr>
          </a:p>
        </p:txBody>
      </p:sp>
      <p:grpSp>
        <p:nvGrpSpPr>
          <p:cNvPr id="103" name="btfpStatusSticker113982">
            <a:extLst>
              <a:ext uri="{FF2B5EF4-FFF2-40B4-BE49-F238E27FC236}">
                <a16:creationId xmlns:a16="http://schemas.microsoft.com/office/drawing/2014/main" id="{03EC2687-D331-673B-E41F-D76A6A00F741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9605733" y="955344"/>
            <a:ext cx="2256067" cy="235611"/>
            <a:chOff x="-5862825" y="876300"/>
            <a:chExt cx="2256067" cy="235611"/>
          </a:xfrm>
        </p:grpSpPr>
        <p:sp>
          <p:nvSpPr>
            <p:cNvPr id="104" name="btfpStatusStickerText113982">
              <a:extLst>
                <a:ext uri="{FF2B5EF4-FFF2-40B4-BE49-F238E27FC236}">
                  <a16:creationId xmlns:a16="http://schemas.microsoft.com/office/drawing/2014/main" id="{D1CECD86-4878-FD22-5009-2B18E20B20AF}"/>
                </a:ext>
              </a:extLst>
            </p:cNvPr>
            <p:cNvSpPr txBox="1"/>
            <p:nvPr/>
          </p:nvSpPr>
          <p:spPr bwMode="gray">
            <a:xfrm>
              <a:off x="-5862825" y="876300"/>
              <a:ext cx="2256067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indent="0" algn="r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000000"/>
                  </a:solidFill>
                </a:rPr>
                <a:t>Non-Exhaustive</a:t>
              </a:r>
            </a:p>
          </p:txBody>
        </p:sp>
        <p:cxnSp>
          <p:nvCxnSpPr>
            <p:cNvPr id="105" name="btfpStatusStickerLine113982">
              <a:extLst>
                <a:ext uri="{FF2B5EF4-FFF2-40B4-BE49-F238E27FC236}">
                  <a16:creationId xmlns:a16="http://schemas.microsoft.com/office/drawing/2014/main" id="{2454C173-D9D6-EE78-CC14-3F211DC0CA66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5862825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337F5B15-FF45-0637-4218-BAEFD39C9A84}"/>
              </a:ext>
            </a:extLst>
          </p:cNvPr>
          <p:cNvSpPr/>
          <p:nvPr/>
        </p:nvSpPr>
        <p:spPr bwMode="gray">
          <a:xfrm>
            <a:off x="0" y="0"/>
            <a:ext cx="247650" cy="873125"/>
          </a:xfrm>
          <a:prstGeom prst="rect">
            <a:avLst/>
          </a:prstGeom>
          <a:solidFill>
            <a:srgbClr val="CC0000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GB" sz="1600" b="1">
                <a:solidFill>
                  <a:srgbClr val="FFFFFF"/>
                </a:solidFill>
              </a:rPr>
              <a:t>1</a:t>
            </a:r>
          </a:p>
        </p:txBody>
      </p:sp>
      <p:graphicFrame>
        <p:nvGraphicFramePr>
          <p:cNvPr id="52" name="Table 57">
            <a:extLst>
              <a:ext uri="{FF2B5EF4-FFF2-40B4-BE49-F238E27FC236}">
                <a16:creationId xmlns:a16="http://schemas.microsoft.com/office/drawing/2014/main" id="{B14FF1D3-DDE1-A0DF-DA03-23D260E12917}"/>
              </a:ext>
            </a:extLst>
          </p:cNvPr>
          <p:cNvGraphicFramePr>
            <a:graphicFrameLocks noGrp="1"/>
          </p:cNvGraphicFramePr>
          <p:nvPr/>
        </p:nvGraphicFramePr>
        <p:xfrm>
          <a:off x="4108180" y="949888"/>
          <a:ext cx="5368477" cy="24384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19666">
                  <a:extLst>
                    <a:ext uri="{9D8B030D-6E8A-4147-A177-3AD203B41FA5}">
                      <a16:colId xmlns:a16="http://schemas.microsoft.com/office/drawing/2014/main" val="212599643"/>
                    </a:ext>
                  </a:extLst>
                </a:gridCol>
                <a:gridCol w="1183598">
                  <a:extLst>
                    <a:ext uri="{9D8B030D-6E8A-4147-A177-3AD203B41FA5}">
                      <a16:colId xmlns:a16="http://schemas.microsoft.com/office/drawing/2014/main" val="1509297898"/>
                    </a:ext>
                  </a:extLst>
                </a:gridCol>
                <a:gridCol w="1241185">
                  <a:extLst>
                    <a:ext uri="{9D8B030D-6E8A-4147-A177-3AD203B41FA5}">
                      <a16:colId xmlns:a16="http://schemas.microsoft.com/office/drawing/2014/main" val="840909452"/>
                    </a:ext>
                  </a:extLst>
                </a:gridCol>
                <a:gridCol w="1112014">
                  <a:extLst>
                    <a:ext uri="{9D8B030D-6E8A-4147-A177-3AD203B41FA5}">
                      <a16:colId xmlns:a16="http://schemas.microsoft.com/office/drawing/2014/main" val="974597726"/>
                    </a:ext>
                  </a:extLst>
                </a:gridCol>
                <a:gridCol w="1112014">
                  <a:extLst>
                    <a:ext uri="{9D8B030D-6E8A-4147-A177-3AD203B41FA5}">
                      <a16:colId xmlns:a16="http://schemas.microsoft.com/office/drawing/2014/main" val="404075900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GB" sz="1000" b="1"/>
                        <a:t>Legend: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sz="900">
                          <a:solidFill>
                            <a:srgbClr val="FFFFFF"/>
                          </a:solidFill>
                        </a:rPr>
                        <a:t>Available (in-house)</a:t>
                      </a:r>
                      <a:endParaRPr lang="en-GB" sz="900">
                        <a:solidFill>
                          <a:srgbClr val="FFFFFF"/>
                        </a:solidFill>
                      </a:endParaRPr>
                    </a:p>
                  </a:txBody>
                  <a:tcPr marL="0" marR="0" marT="0" marB="0" anchor="ctr"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sz="900">
                          <a:solidFill>
                            <a:srgbClr val="FFFFFF"/>
                          </a:solidFill>
                        </a:rPr>
                        <a:t>Available (3</a:t>
                      </a:r>
                      <a:r>
                        <a:rPr lang="en-US" sz="900" baseline="30000">
                          <a:solidFill>
                            <a:srgbClr val="FFFFFF"/>
                          </a:solidFill>
                        </a:rPr>
                        <a:t>rd</a:t>
                      </a:r>
                      <a:r>
                        <a:rPr lang="en-US" sz="900">
                          <a:solidFill>
                            <a:srgbClr val="FFFFFF"/>
                          </a:solidFill>
                        </a:rPr>
                        <a:t> party)</a:t>
                      </a:r>
                      <a:endParaRPr lang="en-GB" sz="900">
                        <a:solidFill>
                          <a:srgbClr val="FFFFFF"/>
                        </a:solidFill>
                      </a:endParaRPr>
                    </a:p>
                  </a:txBody>
                  <a:tcPr marL="0" marR="0" marT="0" marB="0" anchor="ctr">
                    <a:solidFill>
                      <a:srgbClr val="7891A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sz="900">
                          <a:solidFill>
                            <a:srgbClr val="000000"/>
                          </a:solidFill>
                        </a:rPr>
                        <a:t>Not available</a:t>
                      </a:r>
                      <a:endParaRPr lang="en-GB" sz="900">
                        <a:solidFill>
                          <a:srgbClr val="000000"/>
                        </a:solidFill>
                      </a:endParaRPr>
                    </a:p>
                  </a:txBody>
                  <a:tcPr marL="0" marR="0" marT="0" marB="0" anchor="ctr">
                    <a:solidFill>
                      <a:srgbClr val="B4B4B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GB" sz="900"/>
                        <a:t>Remains unclear</a:t>
                      </a:r>
                    </a:p>
                  </a:txBody>
                  <a:tcPr marL="0" marR="0" marT="0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pattFill prst="ltUpDiag">
                      <a:fgClr>
                        <a:srgbClr val="D6D6D6">
                          <a:alpha val="75000"/>
                        </a:srgbClr>
                      </a:fgClr>
                      <a:bgClr>
                        <a:srgbClr val="FFFFFF">
                          <a:alpha val="75000"/>
                        </a:srgbClr>
                      </a:bgClr>
                    </a:pattFill>
                  </a:tcPr>
                </a:tc>
                <a:extLst>
                  <a:ext uri="{0D108BD9-81ED-4DB2-BD59-A6C34878D82A}">
                    <a16:rowId xmlns:a16="http://schemas.microsoft.com/office/drawing/2014/main" val="1569161251"/>
                  </a:ext>
                </a:extLst>
              </a:tr>
            </a:tbl>
          </a:graphicData>
        </a:graphic>
      </p:graphicFrame>
      <p:sp>
        <p:nvSpPr>
          <p:cNvPr id="20" name="Rectangle 19">
            <a:extLst>
              <a:ext uri="{FF2B5EF4-FFF2-40B4-BE49-F238E27FC236}">
                <a16:creationId xmlns:a16="http://schemas.microsoft.com/office/drawing/2014/main" id="{828C937B-85CC-E5E3-C38D-3814DBA2B365}"/>
              </a:ext>
            </a:extLst>
          </p:cNvPr>
          <p:cNvSpPr/>
          <p:nvPr/>
        </p:nvSpPr>
        <p:spPr bwMode="gray">
          <a:xfrm>
            <a:off x="4875221" y="1274956"/>
            <a:ext cx="6977056" cy="311693"/>
          </a:xfrm>
          <a:prstGeom prst="rect">
            <a:avLst/>
          </a:prstGeom>
          <a:solidFill>
            <a:srgbClr val="D6D6D6">
              <a:alpha val="75000"/>
            </a:srgbClr>
          </a:solidFill>
          <a:ln w="9525" cap="flat" cmpd="sng" algn="ctr">
            <a:solidFill>
              <a:srgbClr val="85858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GB" sz="1200" b="1" i="1" dirty="0">
                <a:solidFill>
                  <a:srgbClr val="000000"/>
                </a:solidFill>
              </a:rPr>
              <a:t>Target &amp; Competitor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5445056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think-cell data - do not delete" hidden="1">
            <a:extLst>
              <a:ext uri="{FF2B5EF4-FFF2-40B4-BE49-F238E27FC236}">
                <a16:creationId xmlns:a16="http://schemas.microsoft.com/office/drawing/2014/main" id="{541FEDF6-1BDD-2499-1566-BCD9535149E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243945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84" imgH="486" progId="TCLayout.ActiveDocument.1">
                  <p:embed/>
                </p:oleObj>
              </mc:Choice>
              <mc:Fallback>
                <p:oleObj name="think-cell Slide" r:id="rId9" imgW="484" imgH="486" progId="TCLayout.ActiveDocument.1">
                  <p:embed/>
                  <p:pic>
                    <p:nvPicPr>
                      <p:cNvPr id="2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41FEDF6-1BDD-2499-1566-BCD9535149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2" name="btfpColumnIndicatorGroup2">
            <a:extLst>
              <a:ext uri="{FF2B5EF4-FFF2-40B4-BE49-F238E27FC236}">
                <a16:creationId xmlns:a16="http://schemas.microsoft.com/office/drawing/2014/main" id="{B9924CCA-0357-DD29-78AC-AE58FE283263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20" name="btfpColumnGapBlocker491815">
              <a:extLst>
                <a:ext uri="{FF2B5EF4-FFF2-40B4-BE49-F238E27FC236}">
                  <a16:creationId xmlns:a16="http://schemas.microsoft.com/office/drawing/2014/main" id="{B2BB05D3-7F53-E5A2-F297-17BA28BA8E8A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15" name="btfpColumnGapBlocker327164">
              <a:extLst>
                <a:ext uri="{FF2B5EF4-FFF2-40B4-BE49-F238E27FC236}">
                  <a16:creationId xmlns:a16="http://schemas.microsoft.com/office/drawing/2014/main" id="{944EC719-318C-976A-D704-349382F40EE9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13" name="btfpColumnIndicator870176">
              <a:extLst>
                <a:ext uri="{FF2B5EF4-FFF2-40B4-BE49-F238E27FC236}">
                  <a16:creationId xmlns:a16="http://schemas.microsoft.com/office/drawing/2014/main" id="{0E48CA49-7DB3-7853-A979-CE6E30F42B91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btfpColumnIndicator278859">
              <a:extLst>
                <a:ext uri="{FF2B5EF4-FFF2-40B4-BE49-F238E27FC236}">
                  <a16:creationId xmlns:a16="http://schemas.microsoft.com/office/drawing/2014/main" id="{28AF9EBC-4B2D-02FB-F852-E513C6F36F0B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1" name="btfpColumnIndicatorGroup1">
            <a:extLst>
              <a:ext uri="{FF2B5EF4-FFF2-40B4-BE49-F238E27FC236}">
                <a16:creationId xmlns:a16="http://schemas.microsoft.com/office/drawing/2014/main" id="{AC40B42A-68D4-F0F3-A050-26E44AC59D20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9" name="btfpColumnGapBlocker542011">
              <a:extLst>
                <a:ext uri="{FF2B5EF4-FFF2-40B4-BE49-F238E27FC236}">
                  <a16:creationId xmlns:a16="http://schemas.microsoft.com/office/drawing/2014/main" id="{408FB170-7FCB-F3C3-8B0B-10E59A4EA0E1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14" name="btfpColumnGapBlocker459475">
              <a:extLst>
                <a:ext uri="{FF2B5EF4-FFF2-40B4-BE49-F238E27FC236}">
                  <a16:creationId xmlns:a16="http://schemas.microsoft.com/office/drawing/2014/main" id="{FED41C78-F7D7-153F-3BDE-160FA9E41C1B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12" name="btfpColumnIndicator329458">
              <a:extLst>
                <a:ext uri="{FF2B5EF4-FFF2-40B4-BE49-F238E27FC236}">
                  <a16:creationId xmlns:a16="http://schemas.microsoft.com/office/drawing/2014/main" id="{08E90826-53D0-CA4B-0203-E2ECDC902DB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83170">
              <a:extLst>
                <a:ext uri="{FF2B5EF4-FFF2-40B4-BE49-F238E27FC236}">
                  <a16:creationId xmlns:a16="http://schemas.microsoft.com/office/drawing/2014/main" id="{FC1A95D3-2F2A-33C1-D1A6-04106A2F54ED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83" name="btfpTable473359">
            <a:extLst>
              <a:ext uri="{FF2B5EF4-FFF2-40B4-BE49-F238E27FC236}">
                <a16:creationId xmlns:a16="http://schemas.microsoft.com/office/drawing/2014/main" id="{57D8B81A-1C64-1E7C-79DF-9E4DC19B7FA5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121120907"/>
              </p:ext>
            </p:extLst>
          </p:nvPr>
        </p:nvGraphicFramePr>
        <p:xfrm>
          <a:off x="330200" y="1270000"/>
          <a:ext cx="11528424" cy="5219317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935038">
                  <a:extLst>
                    <a:ext uri="{9D8B030D-6E8A-4147-A177-3AD203B41FA5}">
                      <a16:colId xmlns:a16="http://schemas.microsoft.com/office/drawing/2014/main" val="3303184647"/>
                    </a:ext>
                  </a:extLst>
                </a:gridCol>
                <a:gridCol w="2497667">
                  <a:extLst>
                    <a:ext uri="{9D8B030D-6E8A-4147-A177-3AD203B41FA5}">
                      <a16:colId xmlns:a16="http://schemas.microsoft.com/office/drawing/2014/main" val="2797461264"/>
                    </a:ext>
                  </a:extLst>
                </a:gridCol>
                <a:gridCol w="1090083">
                  <a:extLst>
                    <a:ext uri="{9D8B030D-6E8A-4147-A177-3AD203B41FA5}">
                      <a16:colId xmlns:a16="http://schemas.microsoft.com/office/drawing/2014/main" val="4127117922"/>
                    </a:ext>
                  </a:extLst>
                </a:gridCol>
                <a:gridCol w="1751409">
                  <a:extLst>
                    <a:ext uri="{9D8B030D-6E8A-4147-A177-3AD203B41FA5}">
                      <a16:colId xmlns:a16="http://schemas.microsoft.com/office/drawing/2014/main" val="1788036504"/>
                    </a:ext>
                  </a:extLst>
                </a:gridCol>
                <a:gridCol w="1751409">
                  <a:extLst>
                    <a:ext uri="{9D8B030D-6E8A-4147-A177-3AD203B41FA5}">
                      <a16:colId xmlns:a16="http://schemas.microsoft.com/office/drawing/2014/main" val="3448254627"/>
                    </a:ext>
                  </a:extLst>
                </a:gridCol>
                <a:gridCol w="1751409">
                  <a:extLst>
                    <a:ext uri="{9D8B030D-6E8A-4147-A177-3AD203B41FA5}">
                      <a16:colId xmlns:a16="http://schemas.microsoft.com/office/drawing/2014/main" val="1731476216"/>
                    </a:ext>
                  </a:extLst>
                </a:gridCol>
                <a:gridCol w="1751409">
                  <a:extLst>
                    <a:ext uri="{9D8B030D-6E8A-4147-A177-3AD203B41FA5}">
                      <a16:colId xmlns:a16="http://schemas.microsoft.com/office/drawing/2014/main" val="371480917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indent="0">
                        <a:spcBef>
                          <a:spcPts val="0"/>
                        </a:spcBef>
                        <a:buFontTx/>
                        <a:buNone/>
                      </a:pPr>
                      <a:r>
                        <a:rPr lang="en-US" sz="1000"/>
                        <a:t>Value cha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0"/>
                        </a:spcBef>
                        <a:buFontTx/>
                        <a:buNone/>
                      </a:pPr>
                      <a:r>
                        <a:rPr lang="en-US" sz="1000"/>
                        <a:t>Feature</a:t>
                      </a:r>
                    </a:p>
                  </a:txBody>
                  <a:tcPr anchor="b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0"/>
                        </a:spcBef>
                        <a:buFontTx/>
                        <a:buNone/>
                      </a:pPr>
                      <a:r>
                        <a:rPr lang="en-US" sz="1000"/>
                        <a:t>Technical sophistication</a:t>
                      </a:r>
                    </a:p>
                  </a:txBody>
                  <a:tcPr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0"/>
                        </a:spcBef>
                        <a:buFontTx/>
                        <a:buNone/>
                      </a:pPr>
                      <a:endParaRPr lang="en-US" sz="1600"/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0"/>
                        </a:spcBef>
                        <a:buFontTx/>
                        <a:buNone/>
                      </a:pPr>
                      <a:endParaRPr lang="en-US" sz="1600"/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0"/>
                        </a:spcBef>
                        <a:buFontTx/>
                        <a:buNone/>
                      </a:pPr>
                      <a:endParaRPr lang="en-US" sz="1600"/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0"/>
                        </a:spcBef>
                        <a:buFontTx/>
                        <a:buNone/>
                      </a:pPr>
                      <a:endParaRPr lang="en-US" sz="1600"/>
                    </a:p>
                  </a:txBody>
                  <a:tcPr anchor="b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38524597"/>
                  </a:ext>
                </a:extLst>
              </a:tr>
              <a:tr h="203977">
                <a:tc rowSpan="5">
                  <a:txBody>
                    <a:bodyPr/>
                    <a:lstStyle/>
                    <a:p>
                      <a:pPr marL="58738" indent="-58738" algn="l" fontAlgn="b">
                        <a:buNone/>
                      </a:pPr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Exam admin</a:t>
                      </a:r>
                    </a:p>
                  </a:txBody>
                  <a:tcPr marL="0" marR="0" marT="0" marB="0"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57150" algn="l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roctor controls</a:t>
                      </a:r>
                    </a:p>
                  </a:txBody>
                  <a:tcPr marL="0" marR="0" marT="0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indent="57150" algn="l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edium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9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9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9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 rowSpan="5">
                  <a:txBody>
                    <a:bodyPr/>
                    <a:lstStyle/>
                    <a:p>
                      <a:pPr marL="0" indent="0" algn="ctr" defTabSz="711200" rtl="0" eaLnBrk="1" fontAlgn="b" latinLnBrk="0" hangingPunct="1">
                        <a:spcBef>
                          <a:spcPts val="1200"/>
                        </a:spcBef>
                        <a:buNone/>
                      </a:pPr>
                      <a:endParaRPr lang="en-US" sz="900" b="1" i="0" u="none" strike="noStrike" kern="120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3AC9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99974024"/>
                  </a:ext>
                </a:extLst>
              </a:tr>
              <a:tr h="203977">
                <a:tc vMerge="1"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xam admin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indent="57150" algn="l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ve video feed</a:t>
                      </a:r>
                    </a:p>
                  </a:txBody>
                  <a:tcPr marL="0" marR="0" marT="0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indent="57150" algn="l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edium/ High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9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891A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9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891A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9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891AA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indent="0" algn="ctr" defTabSz="711200" rtl="0" eaLnBrk="1" fontAlgn="b" latinLnBrk="0" hangingPunct="1">
                        <a:spcBef>
                          <a:spcPts val="1200"/>
                        </a:spcBef>
                        <a:buNone/>
                      </a:pPr>
                      <a:r>
                        <a:rPr lang="en-US" sz="900" b="1" i="0" u="none" strike="noStrike" kern="1200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ProctorU</a:t>
                      </a:r>
                      <a:endParaRPr lang="en-US" sz="900" b="1" i="0" u="none" strike="noStrike" kern="120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3AC9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6078697"/>
                  </a:ext>
                </a:extLst>
              </a:tr>
              <a:tr h="203977">
                <a:tc vMerge="1"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rgbClr val="EED6E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57150" algn="l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ystem health monitoring</a:t>
                      </a:r>
                    </a:p>
                  </a:txBody>
                  <a:tcPr marL="0" marR="0" marT="0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indent="57150" algn="l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edium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rowSpan="3"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9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9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9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indent="0" algn="ctr" defTabSz="711200" rtl="0" eaLnBrk="1" fontAlgn="b" latinLnBrk="0" hangingPunct="1">
                        <a:spcBef>
                          <a:spcPts val="1200"/>
                        </a:spcBef>
                        <a:buNone/>
                      </a:pPr>
                      <a:r>
                        <a:rPr lang="en-US" sz="900" b="1" i="0" u="none" strike="noStrike" kern="1200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ProctorU</a:t>
                      </a:r>
                      <a:endParaRPr lang="en-US" sz="900" b="1" i="0" u="none" strike="noStrike" kern="120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3AC9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63654643"/>
                  </a:ext>
                </a:extLst>
              </a:tr>
              <a:tr h="258188">
                <a:tc vMerge="1"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rgbClr val="EED6E5"/>
                    </a:solidFill>
                  </a:tcPr>
                </a:tc>
                <a:tc>
                  <a:txBody>
                    <a:bodyPr/>
                    <a:lstStyle/>
                    <a:p>
                      <a:pPr marL="57150" indent="0" algn="l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hoto capture of candidate (e.g., snapshot every ~10secs)</a:t>
                      </a:r>
                    </a:p>
                  </a:txBody>
                  <a:tcPr marL="0" marR="0" marT="0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57150" indent="0" algn="l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edium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vMerge="1"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oProctor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B4B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9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ltUpDiag">
                      <a:fgClr>
                        <a:srgbClr val="D6D6D6">
                          <a:alpha val="75000"/>
                        </a:srgbClr>
                      </a:fgClr>
                      <a:bgClr>
                        <a:srgbClr val="FFFFFF">
                          <a:alpha val="75000"/>
                        </a:srgbClr>
                      </a:bgClr>
                    </a:pattFill>
                  </a:tcPr>
                </a:tc>
                <a:extLst>
                  <a:ext uri="{0D108BD9-81ED-4DB2-BD59-A6C34878D82A}">
                    <a16:rowId xmlns:a16="http://schemas.microsoft.com/office/drawing/2014/main" val="2565957123"/>
                  </a:ext>
                </a:extLst>
              </a:tr>
              <a:tr h="203977">
                <a:tc vMerge="1"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rgbClr val="EED6E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57150" algn="l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echnical support integration</a:t>
                      </a:r>
                    </a:p>
                  </a:txBody>
                  <a:tcPr marL="0" marR="0" marT="0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57150" algn="l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ow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oProctor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9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9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octorU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3AC9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05748612"/>
                  </a:ext>
                </a:extLst>
              </a:tr>
              <a:tr h="203977">
                <a:tc rowSpan="8">
                  <a:txBody>
                    <a:bodyPr/>
                    <a:lstStyle/>
                    <a:p>
                      <a:pPr marL="58738" indent="0" algn="l" defTabSz="711200" rtl="0" eaLnBrk="1" fontAlgn="b" latinLnBrk="0" hangingPunct="1">
                        <a:spcBef>
                          <a:spcPts val="1200"/>
                        </a:spcBef>
                        <a:buNone/>
                      </a:pPr>
                      <a:r>
                        <a:rPr lang="en-US" sz="900" b="1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Exam monitoring</a:t>
                      </a:r>
                    </a:p>
                  </a:txBody>
                  <a:tcPr marL="0" marR="0" marT="0" marB="0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57150" algn="l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ime stamped video logs</a:t>
                      </a:r>
                    </a:p>
                  </a:txBody>
                  <a:tcPr marL="0" marR="0" marT="0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indent="57150" algn="l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edium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9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891A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9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891A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9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 rowSpan="8"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9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3AC9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77894345"/>
                  </a:ext>
                </a:extLst>
              </a:tr>
              <a:tr h="203977">
                <a:tc vMerge="1"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indent="57150" algn="l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I anomaly detection (retrospective)</a:t>
                      </a:r>
                    </a:p>
                  </a:txBody>
                  <a:tcPr marL="0" marR="0" marT="0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indent="57150" algn="l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igh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9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891A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B4B4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9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891AA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ltUpDiag">
                      <a:fgClr>
                        <a:srgbClr val="D6D6D6">
                          <a:alpha val="75000"/>
                        </a:srgbClr>
                      </a:fgClr>
                      <a:bgClr>
                        <a:srgbClr val="FFFFFF">
                          <a:alpha val="75000"/>
                        </a:srgbClr>
                      </a:bgClr>
                    </a:pattFill>
                  </a:tcPr>
                </a:tc>
                <a:extLst>
                  <a:ext uri="{0D108BD9-81ED-4DB2-BD59-A6C34878D82A}">
                    <a16:rowId xmlns:a16="http://schemas.microsoft.com/office/drawing/2014/main" val="3370499941"/>
                  </a:ext>
                </a:extLst>
              </a:tr>
              <a:tr h="258188">
                <a:tc vMerge="1"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indent="57150" algn="l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I anomaly detection (real-time)</a:t>
                      </a:r>
                    </a:p>
                  </a:txBody>
                  <a:tcPr marL="0" marR="0" marT="0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indent="57150" algn="l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igh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9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891AA"/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9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WS </a:t>
                      </a:r>
                      <a:r>
                        <a:rPr lang="en-US" sz="900" b="1" i="0" u="none" strike="noStrike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Rekognition</a:t>
                      </a:r>
                      <a:endParaRPr lang="en-US" sz="9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R>
                      <a:noFill/>
                    </a:lnR>
                    <a:solidFill>
                      <a:srgbClr val="7891AA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octorU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3AC9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07826618"/>
                  </a:ext>
                </a:extLst>
              </a:tr>
              <a:tr h="203977">
                <a:tc vMerge="1"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indent="57150" algn="l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ule-based engine for test security</a:t>
                      </a:r>
                    </a:p>
                  </a:txBody>
                  <a:tcPr marL="0" marR="0" marT="0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indent="57150" algn="l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edium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9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1" i="0" u="none" strike="noStrike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OnVUE</a:t>
                      </a:r>
                      <a:endParaRPr lang="en-US" sz="9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9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1" i="0" u="none" strike="noStrike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octorU</a:t>
                      </a:r>
                      <a:endParaRPr lang="en-US" sz="9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3AC9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3766979"/>
                  </a:ext>
                </a:extLst>
              </a:tr>
              <a:tr h="258188">
                <a:tc vMerge="1"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57150" indent="0" algn="l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dvanced security techniques (e.g., web scraping, honey pot answer dumps, etc.)</a:t>
                      </a:r>
                    </a:p>
                  </a:txBody>
                  <a:tcPr marL="0" marR="0" marT="0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57150" indent="0" algn="l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igh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9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1" i="0" u="none" strike="noStrike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OnVUE</a:t>
                      </a:r>
                      <a:endParaRPr lang="en-US" sz="9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9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pattFill prst="ltUpDiag">
                      <a:fgClr>
                        <a:srgbClr val="B4B4B4"/>
                      </a:fgClr>
                      <a:bgClr>
                        <a:srgbClr val="FFFFFF"/>
                      </a:bgClr>
                    </a:pattFill>
                  </a:tcPr>
                </a:tc>
                <a:tc vMerge="1"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Manual service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3AC9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5374834"/>
                  </a:ext>
                </a:extLst>
              </a:tr>
              <a:tr h="203977">
                <a:tc vMerge="1"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indent="57150" algn="l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creen, keystrokes capture/ recording</a:t>
                      </a:r>
                    </a:p>
                  </a:txBody>
                  <a:tcPr marL="0" marR="0" marT="0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indent="57150" algn="l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edium/ High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9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B4B4"/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9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octorU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3AC9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6726824"/>
                  </a:ext>
                </a:extLst>
              </a:tr>
              <a:tr h="203977">
                <a:tc vMerge="1"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rgbClr val="EED6E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57150" algn="l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ncrypted storage for exam recordings</a:t>
                      </a:r>
                    </a:p>
                  </a:txBody>
                  <a:tcPr marL="0" marR="0" marT="0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indent="57150" algn="l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ow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9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891AA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9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SI Bridge</a:t>
                      </a:r>
                    </a:p>
                  </a:txBody>
                  <a:tcPr marL="0" marR="0" marT="0" marB="0" anchor="ctr">
                    <a:lnR>
                      <a:noFill/>
                    </a:lnR>
                    <a:solidFill>
                      <a:srgbClr val="83AC9A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1" i="0" u="none" strike="noStrike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octorU</a:t>
                      </a:r>
                      <a:endParaRPr lang="en-US" sz="9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3AC9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76216064"/>
                  </a:ext>
                </a:extLst>
              </a:tr>
              <a:tr h="203977">
                <a:tc vMerge="1"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rgbClr val="EED6E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57150" algn="l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xportable test security data</a:t>
                      </a:r>
                    </a:p>
                  </a:txBody>
                  <a:tcPr marL="0" marR="0" marT="0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57150" algn="l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ow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90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OnVUE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9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R>
                      <a:noFill/>
                    </a:lnR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1" i="0" u="none" strike="noStrike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octorU</a:t>
                      </a:r>
                      <a:endParaRPr lang="en-US" sz="9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3AC9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91914060"/>
                  </a:ext>
                </a:extLst>
              </a:tr>
              <a:tr h="258188">
                <a:tc rowSpan="3">
                  <a:txBody>
                    <a:bodyPr/>
                    <a:lstStyle/>
                    <a:p>
                      <a:pPr marL="58738" indent="0" algn="l" fontAlgn="b">
                        <a:buNone/>
                      </a:pPr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sults processing</a:t>
                      </a:r>
                    </a:p>
                  </a:txBody>
                  <a:tcPr marL="0" marR="0" marT="0" marB="0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58738" indent="-1588" algn="l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anual grading tools for subjective question types</a:t>
                      </a:r>
                    </a:p>
                  </a:txBody>
                  <a:tcPr marL="0" marR="0" marT="0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indent="57150" algn="l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edium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rowSpan="2"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9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9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9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891AA"/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9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3AC9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6234045"/>
                  </a:ext>
                </a:extLst>
              </a:tr>
              <a:tr h="203977">
                <a:tc vMerge="1"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rgbClr val="DCE2D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57150" algn="l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utomated scoring for basic question types</a:t>
                      </a:r>
                    </a:p>
                  </a:txBody>
                  <a:tcPr marL="0" marR="0" marT="0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indent="57150" algn="l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ow/ Medium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vMerge="1"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oGrader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83AC9A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Result Processor</a:t>
                      </a:r>
                    </a:p>
                  </a:txBody>
                  <a:tcPr marL="0" marR="0" marT="0" marB="0" anchor="ctr">
                    <a:solidFill>
                      <a:srgbClr val="83AC9A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9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Meazure Exam Platform 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3AC9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0719881"/>
                  </a:ext>
                </a:extLst>
              </a:tr>
              <a:tr h="203977">
                <a:tc vMerge="1"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rgbClr val="DCE2D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57150" algn="l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ata validation and integrity checks</a:t>
                      </a:r>
                    </a:p>
                  </a:txBody>
                  <a:tcPr marL="0" marR="0" marT="0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57150" algn="l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edium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B4B4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Result Processor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tlas Cloud/ Dimensions</a:t>
                      </a:r>
                    </a:p>
                  </a:txBody>
                  <a:tcPr marL="0" marR="0" marT="0" marB="0" anchor="ctr">
                    <a:lnR>
                      <a:noFill/>
                    </a:lnR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1" i="0" u="none" strike="noStrike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Meazure</a:t>
                      </a:r>
                      <a:r>
                        <a:rPr lang="en-US" sz="9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 Exam Platform 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3AC9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75271425"/>
                  </a:ext>
                </a:extLst>
              </a:tr>
              <a:tr h="203977">
                <a:tc rowSpan="6">
                  <a:txBody>
                    <a:bodyPr/>
                    <a:lstStyle/>
                    <a:p>
                      <a:pPr marL="58738" indent="0" algn="l" fontAlgn="b">
                        <a:buNone/>
                      </a:pPr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porting and analytics</a:t>
                      </a:r>
                    </a:p>
                  </a:txBody>
                  <a:tcPr marL="0" marR="0" marT="0" marB="0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indent="57150" algn="l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tem-level performance analytics</a:t>
                      </a:r>
                    </a:p>
                  </a:txBody>
                  <a:tcPr marL="0" marR="0" marT="0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indent="57150" algn="l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edium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rowSpan="2"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9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9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9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3AC9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01188141"/>
                  </a:ext>
                </a:extLst>
              </a:tr>
              <a:tr h="258188">
                <a:tc vMerge="1"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57150" indent="0" algn="l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tential liability tracking (e.g., discrimination,   psychometrics, tech issues, exposure, etc.)</a:t>
                      </a:r>
                    </a:p>
                  </a:txBody>
                  <a:tcPr marL="0" marR="0" marT="0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57150" indent="0" algn="l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igh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vMerge="1"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1" i="0" u="none" strike="noStrike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oInsights</a:t>
                      </a:r>
                      <a:endParaRPr lang="en-US" sz="9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83AC9A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1" i="0" u="none" strike="noStrike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OnVUE</a:t>
                      </a:r>
                      <a:endParaRPr lang="en-US" sz="9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9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Meazure Exam Platform 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3AC9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9339823"/>
                  </a:ext>
                </a:extLst>
              </a:tr>
              <a:tr h="203977">
                <a:tc vMerge="1"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noFill/>
                  </a:tcPr>
                </a:tc>
                <a:tc>
                  <a:txBody>
                    <a:bodyPr/>
                    <a:lstStyle/>
                    <a:p>
                      <a:pPr marL="0" indent="57150" algn="l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ndividual candidate scoring reports</a:t>
                      </a:r>
                    </a:p>
                  </a:txBody>
                  <a:tcPr marL="0" marR="0" marT="0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indent="57150" algn="l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ow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9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9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9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ltUpDiag">
                      <a:fgClr>
                        <a:srgbClr val="D6D6D6">
                          <a:alpha val="75000"/>
                        </a:srgbClr>
                      </a:fgClr>
                      <a:bgClr>
                        <a:srgbClr val="FFFFFF">
                          <a:alpha val="75000"/>
                        </a:srgbClr>
                      </a:bgClr>
                    </a:pattFill>
                  </a:tcPr>
                </a:tc>
                <a:extLst>
                  <a:ext uri="{0D108BD9-81ED-4DB2-BD59-A6C34878D82A}">
                    <a16:rowId xmlns:a16="http://schemas.microsoft.com/office/drawing/2014/main" val="3512189099"/>
                  </a:ext>
                </a:extLst>
              </a:tr>
              <a:tr h="203977">
                <a:tc vMerge="1"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noFill/>
                  </a:tcPr>
                </a:tc>
                <a:tc>
                  <a:txBody>
                    <a:bodyPr/>
                    <a:lstStyle/>
                    <a:p>
                      <a:pPr marL="0" indent="57150" algn="l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ggregated performance analytics</a:t>
                      </a:r>
                    </a:p>
                  </a:txBody>
                  <a:tcPr marL="0" marR="0" marT="0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indent="57150" algn="l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edium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rowSpan="2"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9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9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83AC9A"/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9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ltUpDiag">
                      <a:fgClr>
                        <a:srgbClr val="D6D6D6">
                          <a:alpha val="75000"/>
                        </a:srgbClr>
                      </a:fgClr>
                      <a:bgClr>
                        <a:srgbClr val="FFFFFF">
                          <a:alpha val="75000"/>
                        </a:srgbClr>
                      </a:bgClr>
                    </a:pattFill>
                  </a:tcPr>
                </a:tc>
                <a:extLst>
                  <a:ext uri="{0D108BD9-81ED-4DB2-BD59-A6C34878D82A}">
                    <a16:rowId xmlns:a16="http://schemas.microsoft.com/office/drawing/2014/main" val="4212557059"/>
                  </a:ext>
                </a:extLst>
              </a:tr>
              <a:tr h="203977">
                <a:tc vMerge="1"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noFill/>
                  </a:tcPr>
                </a:tc>
                <a:tc>
                  <a:txBody>
                    <a:bodyPr/>
                    <a:lstStyle/>
                    <a:p>
                      <a:pPr marL="0" indent="57150" algn="l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omparative analytics</a:t>
                      </a:r>
                    </a:p>
                  </a:txBody>
                  <a:tcPr marL="0" marR="0" marT="0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indent="57150" algn="l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edium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vMerge="1"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1" i="0" u="none" strike="noStrike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oInsights</a:t>
                      </a:r>
                      <a:endParaRPr lang="en-US" sz="9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83AC9A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pattFill prst="ltUpDiag">
                      <a:fgClr>
                        <a:srgbClr val="D6D6D6">
                          <a:alpha val="75000"/>
                        </a:srgbClr>
                      </a:fgClr>
                      <a:bgClr>
                        <a:srgbClr val="FFFFFF">
                          <a:alpha val="75000"/>
                        </a:srgbClr>
                      </a:bgClr>
                    </a:pattFill>
                  </a:tcPr>
                </a:tc>
                <a:tc vMerge="1"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SI Bridge</a:t>
                      </a:r>
                    </a:p>
                  </a:txBody>
                  <a:tcPr marL="0" marR="0" marT="0" marB="0" anchor="ctr">
                    <a:lnR>
                      <a:noFill/>
                    </a:lnR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ltUpDiag">
                      <a:fgClr>
                        <a:srgbClr val="D6D6D6">
                          <a:alpha val="75000"/>
                        </a:srgbClr>
                      </a:fgClr>
                      <a:bgClr>
                        <a:srgbClr val="FFFFFF">
                          <a:alpha val="75000"/>
                        </a:srgbClr>
                      </a:bgClr>
                    </a:pattFill>
                  </a:tcPr>
                </a:tc>
                <a:extLst>
                  <a:ext uri="{0D108BD9-81ED-4DB2-BD59-A6C34878D82A}">
                    <a16:rowId xmlns:a16="http://schemas.microsoft.com/office/drawing/2014/main" val="3298799224"/>
                  </a:ext>
                </a:extLst>
              </a:tr>
              <a:tr h="203977">
                <a:tc vMerge="1"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noFill/>
                  </a:tcPr>
                </a:tc>
                <a:tc>
                  <a:txBody>
                    <a:bodyPr/>
                    <a:lstStyle/>
                    <a:p>
                      <a:pPr marL="0" indent="57150" algn="l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andidate feedback surveys</a:t>
                      </a:r>
                    </a:p>
                  </a:txBody>
                  <a:tcPr marL="0" marR="0" marT="0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indent="57150" algn="l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ow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90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83AC9A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1" i="0" u="none" strike="noStrike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OnVUE</a:t>
                      </a:r>
                      <a:endParaRPr lang="en-US" sz="9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rgbClr val="83AC9A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SI Bridge</a:t>
                      </a:r>
                    </a:p>
                  </a:txBody>
                  <a:tcPr marL="0" marR="0" marT="0" marB="0" anchor="ctr">
                    <a:lnR>
                      <a:noFill/>
                    </a:lnR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9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3AC9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9156123"/>
                  </a:ext>
                </a:extLst>
              </a:tr>
            </a:tbl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0B0EFAD-CFDB-B926-A346-C4440437E8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b="1" dirty="0"/>
              <a:t>Feature comparison </a:t>
            </a:r>
            <a:r>
              <a:rPr lang="en-US" b="1"/>
              <a:t>| </a:t>
            </a:r>
            <a:r>
              <a:rPr lang="en-US" b="0" i="0">
                <a:effectLst/>
              </a:rPr>
              <a:t>Target may </a:t>
            </a:r>
            <a:r>
              <a:rPr lang="en-US" b="0" i="0" dirty="0">
                <a:effectLst/>
              </a:rPr>
              <a:t>consider addressing these gaps as part of its efforts to expand its remote test offering into new industry vertical and test types</a:t>
            </a:r>
            <a:endParaRPr lang="en-US" dirty="0"/>
          </a:p>
        </p:txBody>
      </p:sp>
      <p:grpSp>
        <p:nvGrpSpPr>
          <p:cNvPr id="16" name="btfpRunningAgenda1Level853133">
            <a:extLst>
              <a:ext uri="{FF2B5EF4-FFF2-40B4-BE49-F238E27FC236}">
                <a16:creationId xmlns:a16="http://schemas.microsoft.com/office/drawing/2014/main" id="{B963F631-69D5-0E33-BA76-A40C0EE1617A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0" y="944429"/>
            <a:ext cx="2965776" cy="257443"/>
            <a:chOff x="0" y="876300"/>
            <a:chExt cx="2965776" cy="257443"/>
          </a:xfrm>
        </p:grpSpPr>
        <p:sp>
          <p:nvSpPr>
            <p:cNvPr id="17" name="btfpRunningAgenda1LevelBarLeft853133">
              <a:extLst>
                <a:ext uri="{FF2B5EF4-FFF2-40B4-BE49-F238E27FC236}">
                  <a16:creationId xmlns:a16="http://schemas.microsoft.com/office/drawing/2014/main" id="{7F2DEA33-7977-FC33-76C0-0ACA48DDBDA2}"/>
                </a:ext>
              </a:extLst>
            </p:cNvPr>
            <p:cNvSpPr/>
            <p:nvPr/>
          </p:nvSpPr>
          <p:spPr bwMode="gray">
            <a:xfrm>
              <a:off x="0" y="876300"/>
              <a:ext cx="2965776" cy="257443"/>
            </a:xfrm>
            <a:custGeom>
              <a:avLst/>
              <a:gdLst/>
              <a:ahLst/>
              <a:cxnLst/>
              <a:rect l="0" t="0" r="0" b="0"/>
              <a:pathLst>
                <a:path w="2965776" h="257443">
                  <a:moveTo>
                    <a:pt x="0" y="0"/>
                  </a:moveTo>
                  <a:lnTo>
                    <a:pt x="2965775" y="0"/>
                  </a:lnTo>
                  <a:lnTo>
                    <a:pt x="2911054" y="257442"/>
                  </a:lnTo>
                  <a:lnTo>
                    <a:pt x="0" y="257442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18" name="btfpRunningAgenda1LevelTextLeft853133">
              <a:extLst>
                <a:ext uri="{FF2B5EF4-FFF2-40B4-BE49-F238E27FC236}">
                  <a16:creationId xmlns:a16="http://schemas.microsoft.com/office/drawing/2014/main" id="{3BCEC6F2-159C-207C-E2AB-086769086ED2}"/>
                </a:ext>
              </a:extLst>
            </p:cNvPr>
            <p:cNvSpPr txBox="1"/>
            <p:nvPr/>
          </p:nvSpPr>
          <p:spPr bwMode="gray">
            <a:xfrm>
              <a:off x="0" y="876300"/>
              <a:ext cx="2911054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FFFFFF"/>
                  </a:solidFill>
                </a:rPr>
                <a:t>Product &amp; Tech</a:t>
              </a:r>
            </a:p>
          </p:txBody>
        </p:sp>
      </p:grpSp>
      <p:sp>
        <p:nvSpPr>
          <p:cNvPr id="35" name="btfpNotesBox679626">
            <a:extLst>
              <a:ext uri="{FF2B5EF4-FFF2-40B4-BE49-F238E27FC236}">
                <a16:creationId xmlns:a16="http://schemas.microsoft.com/office/drawing/2014/main" id="{09434B31-A3D9-17E6-C6A1-FBD8E7ACBB98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gray">
          <a:xfrm>
            <a:off x="330200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GB" sz="800">
                <a:solidFill>
                  <a:srgbClr val="000000"/>
                </a:solidFill>
              </a:rPr>
              <a:t>Source: Customer interviews (N=28), Competitor interviews (N = 24), Lit. search</a:t>
            </a:r>
            <a:endParaRPr lang="en-GB" sz="800">
              <a:solidFill>
                <a:srgbClr val="000000"/>
              </a:solidFill>
              <a:highlight>
                <a:srgbClr val="FFFF00"/>
              </a:highlight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8F2D2A5-685C-6179-5FC1-F0DCF3EFC8E9}"/>
              </a:ext>
            </a:extLst>
          </p:cNvPr>
          <p:cNvSpPr/>
          <p:nvPr/>
        </p:nvSpPr>
        <p:spPr bwMode="gray">
          <a:xfrm>
            <a:off x="0" y="0"/>
            <a:ext cx="247650" cy="873125"/>
          </a:xfrm>
          <a:prstGeom prst="rect">
            <a:avLst/>
          </a:prstGeom>
          <a:solidFill>
            <a:srgbClr val="CC0000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GB" sz="1600" b="1">
                <a:solidFill>
                  <a:srgbClr val="FFFFFF"/>
                </a:solidFill>
              </a:rPr>
              <a:t>1</a:t>
            </a:r>
          </a:p>
        </p:txBody>
      </p:sp>
      <p:grpSp>
        <p:nvGrpSpPr>
          <p:cNvPr id="5" name="btfpStatusSticker113982">
            <a:extLst>
              <a:ext uri="{FF2B5EF4-FFF2-40B4-BE49-F238E27FC236}">
                <a16:creationId xmlns:a16="http://schemas.microsoft.com/office/drawing/2014/main" id="{37805548-B5C0-7EA5-324F-35171A253A9E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9605733" y="955344"/>
            <a:ext cx="2256067" cy="235611"/>
            <a:chOff x="-5862825" y="876300"/>
            <a:chExt cx="2256067" cy="235611"/>
          </a:xfrm>
        </p:grpSpPr>
        <p:sp>
          <p:nvSpPr>
            <p:cNvPr id="7" name="btfpStatusStickerText113982">
              <a:extLst>
                <a:ext uri="{FF2B5EF4-FFF2-40B4-BE49-F238E27FC236}">
                  <a16:creationId xmlns:a16="http://schemas.microsoft.com/office/drawing/2014/main" id="{DABD7303-6B83-9C72-A164-05F7218A4711}"/>
                </a:ext>
              </a:extLst>
            </p:cNvPr>
            <p:cNvSpPr txBox="1"/>
            <p:nvPr/>
          </p:nvSpPr>
          <p:spPr bwMode="gray">
            <a:xfrm>
              <a:off x="-5862825" y="876300"/>
              <a:ext cx="2256067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indent="0" algn="r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000000"/>
                  </a:solidFill>
                </a:rPr>
                <a:t>Non-Exhaustive</a:t>
              </a:r>
            </a:p>
          </p:txBody>
        </p:sp>
        <p:cxnSp>
          <p:nvCxnSpPr>
            <p:cNvPr id="8" name="btfpStatusStickerLine113982">
              <a:extLst>
                <a:ext uri="{FF2B5EF4-FFF2-40B4-BE49-F238E27FC236}">
                  <a16:creationId xmlns:a16="http://schemas.microsoft.com/office/drawing/2014/main" id="{D198EB56-7A92-A747-C565-D3387C42866D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5862825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60" name="Table 57">
            <a:extLst>
              <a:ext uri="{FF2B5EF4-FFF2-40B4-BE49-F238E27FC236}">
                <a16:creationId xmlns:a16="http://schemas.microsoft.com/office/drawing/2014/main" id="{9338A483-565E-1CFD-7F15-A159062E439E}"/>
              </a:ext>
            </a:extLst>
          </p:cNvPr>
          <p:cNvGraphicFramePr>
            <a:graphicFrameLocks noGrp="1"/>
          </p:cNvGraphicFramePr>
          <p:nvPr/>
        </p:nvGraphicFramePr>
        <p:xfrm>
          <a:off x="4108180" y="949888"/>
          <a:ext cx="5368477" cy="24384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19666">
                  <a:extLst>
                    <a:ext uri="{9D8B030D-6E8A-4147-A177-3AD203B41FA5}">
                      <a16:colId xmlns:a16="http://schemas.microsoft.com/office/drawing/2014/main" val="212599643"/>
                    </a:ext>
                  </a:extLst>
                </a:gridCol>
                <a:gridCol w="1183598">
                  <a:extLst>
                    <a:ext uri="{9D8B030D-6E8A-4147-A177-3AD203B41FA5}">
                      <a16:colId xmlns:a16="http://schemas.microsoft.com/office/drawing/2014/main" val="1509297898"/>
                    </a:ext>
                  </a:extLst>
                </a:gridCol>
                <a:gridCol w="1241185">
                  <a:extLst>
                    <a:ext uri="{9D8B030D-6E8A-4147-A177-3AD203B41FA5}">
                      <a16:colId xmlns:a16="http://schemas.microsoft.com/office/drawing/2014/main" val="840909452"/>
                    </a:ext>
                  </a:extLst>
                </a:gridCol>
                <a:gridCol w="1112014">
                  <a:extLst>
                    <a:ext uri="{9D8B030D-6E8A-4147-A177-3AD203B41FA5}">
                      <a16:colId xmlns:a16="http://schemas.microsoft.com/office/drawing/2014/main" val="974597726"/>
                    </a:ext>
                  </a:extLst>
                </a:gridCol>
                <a:gridCol w="1112014">
                  <a:extLst>
                    <a:ext uri="{9D8B030D-6E8A-4147-A177-3AD203B41FA5}">
                      <a16:colId xmlns:a16="http://schemas.microsoft.com/office/drawing/2014/main" val="404075900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GB" sz="1000" b="1"/>
                        <a:t>Legend: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sz="900">
                          <a:solidFill>
                            <a:srgbClr val="FFFFFF"/>
                          </a:solidFill>
                        </a:rPr>
                        <a:t>Available (in-house)</a:t>
                      </a:r>
                      <a:endParaRPr lang="en-GB" sz="900">
                        <a:solidFill>
                          <a:srgbClr val="FFFFFF"/>
                        </a:solidFill>
                      </a:endParaRPr>
                    </a:p>
                  </a:txBody>
                  <a:tcPr marL="0" marR="0" marT="0" marB="0" anchor="ctr"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sz="900">
                          <a:solidFill>
                            <a:srgbClr val="FFFFFF"/>
                          </a:solidFill>
                        </a:rPr>
                        <a:t>Available (3</a:t>
                      </a:r>
                      <a:r>
                        <a:rPr lang="en-US" sz="900" baseline="30000">
                          <a:solidFill>
                            <a:srgbClr val="FFFFFF"/>
                          </a:solidFill>
                        </a:rPr>
                        <a:t>rd</a:t>
                      </a:r>
                      <a:r>
                        <a:rPr lang="en-US" sz="900">
                          <a:solidFill>
                            <a:srgbClr val="FFFFFF"/>
                          </a:solidFill>
                        </a:rPr>
                        <a:t> party)</a:t>
                      </a:r>
                      <a:endParaRPr lang="en-GB" sz="900">
                        <a:solidFill>
                          <a:srgbClr val="FFFFFF"/>
                        </a:solidFill>
                      </a:endParaRPr>
                    </a:p>
                  </a:txBody>
                  <a:tcPr marL="0" marR="0" marT="0" marB="0" anchor="ctr">
                    <a:solidFill>
                      <a:srgbClr val="7891A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sz="900">
                          <a:solidFill>
                            <a:srgbClr val="000000"/>
                          </a:solidFill>
                        </a:rPr>
                        <a:t>Not available</a:t>
                      </a:r>
                      <a:endParaRPr lang="en-GB" sz="900">
                        <a:solidFill>
                          <a:srgbClr val="000000"/>
                        </a:solidFill>
                      </a:endParaRPr>
                    </a:p>
                  </a:txBody>
                  <a:tcPr marL="0" marR="0" marT="0" marB="0" anchor="ctr">
                    <a:solidFill>
                      <a:srgbClr val="B4B4B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GB" sz="900"/>
                        <a:t>Remains unclear</a:t>
                      </a:r>
                    </a:p>
                  </a:txBody>
                  <a:tcPr marL="0" marR="0" marT="0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pattFill prst="ltUpDiag">
                      <a:fgClr>
                        <a:srgbClr val="D6D6D6">
                          <a:alpha val="75000"/>
                        </a:srgbClr>
                      </a:fgClr>
                      <a:bgClr>
                        <a:srgbClr val="FFFFFF">
                          <a:alpha val="75000"/>
                        </a:srgbClr>
                      </a:bgClr>
                    </a:pattFill>
                  </a:tcPr>
                </a:tc>
                <a:extLst>
                  <a:ext uri="{0D108BD9-81ED-4DB2-BD59-A6C34878D82A}">
                    <a16:rowId xmlns:a16="http://schemas.microsoft.com/office/drawing/2014/main" val="1569161251"/>
                  </a:ext>
                </a:extLst>
              </a:tr>
            </a:tbl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F1719FD9-2428-1033-C1FC-77B1D2922A5A}"/>
              </a:ext>
            </a:extLst>
          </p:cNvPr>
          <p:cNvSpPr/>
          <p:nvPr/>
        </p:nvSpPr>
        <p:spPr bwMode="gray">
          <a:xfrm>
            <a:off x="4875221" y="1274956"/>
            <a:ext cx="6977056" cy="311693"/>
          </a:xfrm>
          <a:prstGeom prst="rect">
            <a:avLst/>
          </a:prstGeom>
          <a:solidFill>
            <a:srgbClr val="D6D6D6">
              <a:alpha val="75000"/>
            </a:srgbClr>
          </a:solidFill>
          <a:ln w="9525" cap="flat" cmpd="sng" algn="ctr">
            <a:solidFill>
              <a:srgbClr val="85858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GB" sz="1200" b="1" i="1" dirty="0">
                <a:solidFill>
                  <a:srgbClr val="000000"/>
                </a:solidFill>
              </a:rPr>
              <a:t>Target &amp; Competitor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2405719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BTFPCOLUMNGUIDE" val="Visible"/>
  <p:tag name="OFFICE" val="Boston"/>
  <p:tag name="MEKKOFORMATS" val="&lt;MekkoFormats&gt;&lt;NumberFormat DecimalSeparator=&quot;.&quot; ThousandSeparator=&quot;,&quot; NegativeNumberFormat=&quot;1&quot; /&gt;&lt;DateFormat CultureID=&quot;1033&quot; FormatString=&quot;M/d/yyyy&quot; /&gt;&lt;Font&gt;&lt;Output_Font_Name Default=&quot;Arial&quot; UsePPTTheme=&quot;True&quot; /&gt;&lt;/Font&gt;&lt;/MekkoFormats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1"/>
  <p:tag name="BTFPLAYOUTENABLED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1"/>
  <p:tag name="BTFPLAYOUTENABLED" val="0"/>
</p:tagLst>
</file>

<file path=ppt/theme/theme1.xml><?xml version="1.0" encoding="utf-8"?>
<a:theme xmlns:a="http://schemas.openxmlformats.org/drawingml/2006/main" name="Bain Core">
  <a:themeElements>
    <a:clrScheme name="Bain">
      <a:dk1>
        <a:srgbClr val="000000"/>
      </a:dk1>
      <a:lt1>
        <a:srgbClr val="FFFFFF"/>
      </a:lt1>
      <a:dk2>
        <a:srgbClr val="D6D6D6"/>
      </a:dk2>
      <a:lt2>
        <a:srgbClr val="5C5C5C"/>
      </a:lt2>
      <a:accent1>
        <a:srgbClr val="B4B4B4"/>
      </a:accent1>
      <a:accent2>
        <a:srgbClr val="D6D6D6"/>
      </a:accent2>
      <a:accent3>
        <a:srgbClr val="CC0000"/>
      </a:accent3>
      <a:accent4>
        <a:srgbClr val="46647B"/>
      </a:accent4>
      <a:accent5>
        <a:srgbClr val="507867"/>
      </a:accent5>
      <a:accent6>
        <a:srgbClr val="973B74"/>
      </a:accent6>
      <a:hlink>
        <a:srgbClr val="46647B"/>
      </a:hlink>
      <a:folHlink>
        <a:srgbClr val="7891AA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marL="0" indent="0" algn="ctr">
          <a:buNone/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 cap="flat">
          <a:solidFill>
            <a:schemeClr val="tx1"/>
          </a:solidFill>
          <a:miter lim="800000"/>
          <a:tailEnd type="none" w="med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lIns="36000" tIns="36000" rIns="36000" bIns="36000" rtlCol="0">
        <a:spAutoFit/>
      </a:bodyPr>
      <a:lstStyle>
        <a:defPPr marL="0" indent="0">
          <a:buNone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ain Core On Screen Show (16_9).potx" id="{56CF97D2-A744-43CA-AE15-0214FF29DAC4}" vid="{A64E784E-EE2A-4031-BBD4-3B52B2D870F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CE28C1D2031CE49B65EB9398B6665A4" ma:contentTypeVersion="16" ma:contentTypeDescription="Ein neues Dokument erstellen." ma:contentTypeScope="" ma:versionID="915be8ddf9203496dff81045837c2095">
  <xsd:schema xmlns:xsd="http://www.w3.org/2001/XMLSchema" xmlns:xs="http://www.w3.org/2001/XMLSchema" xmlns:p="http://schemas.microsoft.com/office/2006/metadata/properties" xmlns:ns2="024ef72b-9a44-443b-86c7-2b9b89248177" xmlns:ns3="df6b8441-aa16-4692-b757-547843ef6d58" xmlns:ns4="0e427f73-0d6a-4740-aee4-eea3ddf9cfe2" targetNamespace="http://schemas.microsoft.com/office/2006/metadata/properties" ma:root="true" ma:fieldsID="93e82e7d94d6100c07791c5c9fddab0b" ns2:_="" ns3:_="" ns4:_="">
    <xsd:import namespace="024ef72b-9a44-443b-86c7-2b9b89248177"/>
    <xsd:import namespace="df6b8441-aa16-4692-b757-547843ef6d58"/>
    <xsd:import namespace="0e427f73-0d6a-4740-aee4-eea3ddf9cfe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Location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4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24ef72b-9a44-443b-86c7-2b9b8924817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Location" ma:index="12" nillable="true" ma:displayName="Location" ma:internalName="MediaServiceLocation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Bildmarkierungen" ma:readOnly="false" ma:fieldId="{5cf76f15-5ced-4ddc-b409-7134ff3c332f}" ma:taxonomyMulti="true" ma:sspId="4b166abb-7d38-406f-9233-2f33b10aef2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f6b8441-aa16-4692-b757-547843ef6d58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e427f73-0d6a-4740-aee4-eea3ddf9cfe2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a85ec8ad-9b94-48bf-98e4-b3da507f3f23}" ma:internalName="TaxCatchAll" ma:showField="CatchAllData" ma:web="df6b8441-aa16-4692-b757-547843ef6d5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D835C2C-3CD2-40BE-BE8B-84BB9926EAC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38E3FDD-F0A4-4844-9D40-FD90550EE82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24ef72b-9a44-443b-86c7-2b9b89248177"/>
    <ds:schemaRef ds:uri="df6b8441-aa16-4692-b757-547843ef6d58"/>
    <ds:schemaRef ds:uri="0e427f73-0d6a-4740-aee4-eea3ddf9cfe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3</TotalTime>
  <Words>464</Words>
  <Application>Microsoft Office PowerPoint</Application>
  <PresentationFormat>Widescreen</PresentationFormat>
  <Paragraphs>140</Paragraphs>
  <Slides>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6" baseType="lpstr">
      <vt:lpstr>Aptos</vt:lpstr>
      <vt:lpstr>Arial</vt:lpstr>
      <vt:lpstr>Bain Core</vt:lpstr>
      <vt:lpstr>think-cell Slide</vt:lpstr>
      <vt:lpstr>Feature comparison | Target has several features gaps which have been scoped out but not prioritized due to a lack of current customer demand</vt:lpstr>
      <vt:lpstr>Feature comparison | Target may consider addressing these gaps as part of its efforts to expand its remote test offering into new industry vertical and test type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Abhishek Kumar</dc:creator>
  <cp:lastModifiedBy>Singh, Ujjwal</cp:lastModifiedBy>
  <cp:revision>3</cp:revision>
  <cp:lastPrinted>2017-02-15T14:23:56Z</cp:lastPrinted>
  <dcterms:created xsi:type="dcterms:W3CDTF">2025-06-03T08:23:54Z</dcterms:created>
  <dcterms:modified xsi:type="dcterms:W3CDTF">2025-06-13T06:59:42Z</dcterms:modified>
</cp:coreProperties>
</file>